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</p:sldIdLst>
  <p:sldSz cx="12192000" cy="6858000"/>
  <p:notesSz cx="12192000" cy="6858000"/>
  <p:defaultTextStyle>
    <a:defPPr>
      <a:defRPr lang="ru-RU"/>
    </a:defPPr>
    <a:lvl1pPr marL="0" algn="l" defTabSz="913982">
      <a:defRPr sz="1800">
        <a:solidFill>
          <a:schemeClr val="tx1"/>
        </a:solidFill>
        <a:latin typeface="+mn-lt"/>
        <a:ea typeface="+mn-ea"/>
        <a:cs typeface="+mn-cs"/>
      </a:defRPr>
    </a:lvl1pPr>
    <a:lvl2pPr marL="456991" algn="l" defTabSz="913982">
      <a:defRPr sz="1800">
        <a:solidFill>
          <a:schemeClr val="tx1"/>
        </a:solidFill>
        <a:latin typeface="+mn-lt"/>
        <a:ea typeface="+mn-ea"/>
        <a:cs typeface="+mn-cs"/>
      </a:defRPr>
    </a:lvl2pPr>
    <a:lvl3pPr marL="913982" algn="l" defTabSz="913982">
      <a:defRPr sz="1800">
        <a:solidFill>
          <a:schemeClr val="tx1"/>
        </a:solidFill>
        <a:latin typeface="+mn-lt"/>
        <a:ea typeface="+mn-ea"/>
        <a:cs typeface="+mn-cs"/>
      </a:defRPr>
    </a:lvl3pPr>
    <a:lvl4pPr marL="1370973" algn="l" defTabSz="913982">
      <a:defRPr sz="1800">
        <a:solidFill>
          <a:schemeClr val="tx1"/>
        </a:solidFill>
        <a:latin typeface="+mn-lt"/>
        <a:ea typeface="+mn-ea"/>
        <a:cs typeface="+mn-cs"/>
      </a:defRPr>
    </a:lvl4pPr>
    <a:lvl5pPr marL="1827964" algn="l" defTabSz="913982">
      <a:defRPr sz="1800">
        <a:solidFill>
          <a:schemeClr val="tx1"/>
        </a:solidFill>
        <a:latin typeface="+mn-lt"/>
        <a:ea typeface="+mn-ea"/>
        <a:cs typeface="+mn-cs"/>
      </a:defRPr>
    </a:lvl5pPr>
    <a:lvl6pPr marL="2284955" algn="l" defTabSz="913982">
      <a:defRPr sz="1800">
        <a:solidFill>
          <a:schemeClr val="tx1"/>
        </a:solidFill>
        <a:latin typeface="+mn-lt"/>
        <a:ea typeface="+mn-ea"/>
        <a:cs typeface="+mn-cs"/>
      </a:defRPr>
    </a:lvl6pPr>
    <a:lvl7pPr marL="2741946" algn="l" defTabSz="913982">
      <a:defRPr sz="1800">
        <a:solidFill>
          <a:schemeClr val="tx1"/>
        </a:solidFill>
        <a:latin typeface="+mn-lt"/>
        <a:ea typeface="+mn-ea"/>
        <a:cs typeface="+mn-cs"/>
      </a:defRPr>
    </a:lvl7pPr>
    <a:lvl8pPr marL="3198937" algn="l" defTabSz="913982">
      <a:defRPr sz="1800">
        <a:solidFill>
          <a:schemeClr val="tx1"/>
        </a:solidFill>
        <a:latin typeface="+mn-lt"/>
        <a:ea typeface="+mn-ea"/>
        <a:cs typeface="+mn-cs"/>
      </a:defRPr>
    </a:lvl8pPr>
    <a:lvl9pPr marL="3655929" algn="l" defTabSz="913982">
      <a:defRPr sz="18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>
              <a:solidFill>
                <a:schemeClr val="lt1"/>
              </a:solidFill>
            </a:ln>
          </a:left>
          <a:right>
            <a:ln w="12700">
              <a:solidFill>
                <a:schemeClr val="lt1"/>
              </a:solidFill>
            </a:ln>
          </a:right>
          <a:top>
            <a:ln w="12700">
              <a:solidFill>
                <a:schemeClr val="lt1"/>
              </a:solidFill>
            </a:ln>
          </a:top>
          <a:bottom>
            <a:ln w="12700">
              <a:solidFill>
                <a:schemeClr val="lt1"/>
              </a:solidFill>
            </a:ln>
          </a:bottom>
          <a:insideH>
            <a:ln w="12700">
              <a:solidFill>
                <a:schemeClr val="lt1"/>
              </a:solidFill>
            </a:ln>
          </a:insideH>
          <a:insideV>
            <a:ln w="12700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  <a:fill>
          <a:solidFill>
            <a:schemeClr val="accent2">
              <a:tint val="40000"/>
            </a:schemeClr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>
          <a:prstClr val="black"/>
        </a:fontRef>
        <a:schemeClr val="lt1"/>
      </a:tcTxStyle>
      <a:tcStyle>
        <a:tcBdr>
          <a:bottom>
            <a:ln w="38100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  <a:neCell>
      <a:tcStyle>
        <a:tcBdr/>
      </a:tcStyle>
    </a:neCell>
    <a:nwCell>
      <a:tcStyle>
        <a:tcBdr/>
      </a:tcStyle>
    </a:nwCel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>
              <a:solidFill>
                <a:schemeClr val="lt1"/>
              </a:solidFill>
            </a:ln>
          </a:left>
          <a:right>
            <a:ln w="12700">
              <a:solidFill>
                <a:schemeClr val="lt1"/>
              </a:solidFill>
            </a:ln>
          </a:right>
          <a:top>
            <a:ln w="12700">
              <a:solidFill>
                <a:schemeClr val="lt1"/>
              </a:solidFill>
            </a:ln>
          </a:top>
          <a:bottom>
            <a:ln w="12700">
              <a:solidFill>
                <a:schemeClr val="lt1"/>
              </a:solidFill>
            </a:ln>
          </a:bottom>
          <a:insideH>
            <a:ln w="12700">
              <a:solidFill>
                <a:schemeClr val="lt1"/>
              </a:solidFill>
            </a:ln>
          </a:insideH>
          <a:insideV>
            <a:ln w="12700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  <a:fill>
          <a:solidFill>
            <a:schemeClr val="accent1">
              <a:tint val="40000"/>
            </a:schemeClr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>
          <a:prstClr val="black"/>
        </a:fontRef>
        <a:schemeClr val="lt1"/>
      </a:tcTxStyle>
      <a:tcStyle>
        <a:tcBdr>
          <a:bottom>
            <a:ln w="38100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  <a:neCell>
      <a:tcStyle>
        <a:tcBdr/>
      </a:tcStyle>
    </a:neCell>
    <a:nwCell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118" d="100"/>
          <a:sy n="118" d="100"/>
        </p:scale>
        <p:origin x="-276" y="19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Титульны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0" y="0"/>
            <a:ext cx="12192000" cy="105251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" name="Прямоугольник 7"/>
          <p:cNvSpPr/>
          <p:nvPr userDrawn="1"/>
        </p:nvSpPr>
        <p:spPr bwMode="auto">
          <a:xfrm>
            <a:off x="342253" y="2519201"/>
            <a:ext cx="49213" cy="1162212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553">
              <a:defRPr/>
            </a:pPr>
            <a:endParaRPr lang="ru-RU" sz="825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/>
          <a:srcRect t="-6265" r="76724" b="1"/>
          <a:stretch/>
        </p:blipFill>
        <p:spPr bwMode="auto">
          <a:xfrm>
            <a:off x="334963" y="209551"/>
            <a:ext cx="614744" cy="698500"/>
          </a:xfrm>
          <a:prstGeom prst="rect">
            <a:avLst/>
          </a:prstGeom>
          <a:noFill/>
        </p:spPr>
      </p:pic>
      <p:grpSp>
        <p:nvGrpSpPr>
          <p:cNvPr id="29" name="Группа 28"/>
          <p:cNvGrpSpPr/>
          <p:nvPr userDrawn="1"/>
        </p:nvGrpSpPr>
        <p:grpSpPr bwMode="auto">
          <a:xfrm>
            <a:off x="10424753" y="2519201"/>
            <a:ext cx="1432285" cy="1162212"/>
            <a:chOff x="8163549" y="4481025"/>
            <a:chExt cx="1432285" cy="1584000"/>
          </a:xfrm>
        </p:grpSpPr>
        <p:sp>
          <p:nvSpPr>
            <p:cNvPr id="30" name="Прямоугольник 29"/>
            <p:cNvSpPr/>
            <p:nvPr userDrawn="1"/>
          </p:nvSpPr>
          <p:spPr bwMode="auto">
            <a:xfrm>
              <a:off x="8163549" y="4481025"/>
              <a:ext cx="177146" cy="158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0">
                <a:latin typeface="Arial"/>
                <a:cs typeface="Arial"/>
              </a:endParaRPr>
            </a:p>
          </p:txBody>
        </p:sp>
        <p:sp>
          <p:nvSpPr>
            <p:cNvPr id="31" name="Прямоугольник 30"/>
            <p:cNvSpPr/>
            <p:nvPr userDrawn="1"/>
          </p:nvSpPr>
          <p:spPr bwMode="auto">
            <a:xfrm>
              <a:off x="8406841" y="4481025"/>
              <a:ext cx="18000" cy="1584000"/>
            </a:xfrm>
            <a:prstGeom prst="rect">
              <a:avLst/>
            </a:prstGeom>
            <a:solidFill>
              <a:srgbClr val="FFD10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0">
                <a:latin typeface="Arial"/>
                <a:cs typeface="Arial"/>
              </a:endParaRPr>
            </a:p>
          </p:txBody>
        </p:sp>
        <p:sp>
          <p:nvSpPr>
            <p:cNvPr id="32" name="Прямоугольник 31"/>
            <p:cNvSpPr/>
            <p:nvPr userDrawn="1"/>
          </p:nvSpPr>
          <p:spPr bwMode="auto">
            <a:xfrm>
              <a:off x="8451830" y="4481025"/>
              <a:ext cx="90000" cy="1584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0">
                <a:latin typeface="Arial"/>
                <a:cs typeface="Arial"/>
              </a:endParaRPr>
            </a:p>
          </p:txBody>
        </p:sp>
        <p:sp>
          <p:nvSpPr>
            <p:cNvPr id="33" name="Прямоугольник 32"/>
            <p:cNvSpPr/>
            <p:nvPr userDrawn="1"/>
          </p:nvSpPr>
          <p:spPr bwMode="auto">
            <a:xfrm>
              <a:off x="8687809" y="4481025"/>
              <a:ext cx="54000" cy="1584000"/>
            </a:xfrm>
            <a:prstGeom prst="rect">
              <a:avLst/>
            </a:prstGeom>
            <a:solidFill>
              <a:srgbClr val="65BA6D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0">
                <a:latin typeface="Arial"/>
                <a:cs typeface="Arial"/>
              </a:endParaRPr>
            </a:p>
          </p:txBody>
        </p:sp>
        <p:sp>
          <p:nvSpPr>
            <p:cNvPr id="34" name="Прямоугольник 33"/>
            <p:cNvSpPr/>
            <p:nvPr userDrawn="1"/>
          </p:nvSpPr>
          <p:spPr bwMode="auto">
            <a:xfrm>
              <a:off x="8816927" y="4481025"/>
              <a:ext cx="18000" cy="1584000"/>
            </a:xfrm>
            <a:prstGeom prst="rect">
              <a:avLst/>
            </a:prstGeom>
            <a:solidFill>
              <a:srgbClr val="FFD10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0">
                <a:latin typeface="Arial"/>
                <a:cs typeface="Arial"/>
              </a:endParaRPr>
            </a:p>
          </p:txBody>
        </p:sp>
        <p:sp>
          <p:nvSpPr>
            <p:cNvPr id="35" name="Прямоугольник 34"/>
            <p:cNvSpPr/>
            <p:nvPr/>
          </p:nvSpPr>
          <p:spPr bwMode="auto">
            <a:xfrm>
              <a:off x="8867254" y="4481025"/>
              <a:ext cx="126000" cy="1584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0">
                <a:latin typeface="Arial"/>
                <a:cs typeface="Arial"/>
              </a:endParaRPr>
            </a:p>
          </p:txBody>
        </p:sp>
        <p:sp>
          <p:nvSpPr>
            <p:cNvPr id="36" name="Прямоугольник 35"/>
            <p:cNvSpPr/>
            <p:nvPr userDrawn="1"/>
          </p:nvSpPr>
          <p:spPr bwMode="auto">
            <a:xfrm>
              <a:off x="9115075" y="4481025"/>
              <a:ext cx="54000" cy="1584000"/>
            </a:xfrm>
            <a:prstGeom prst="rect">
              <a:avLst/>
            </a:prstGeom>
            <a:solidFill>
              <a:srgbClr val="FFD10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0">
                <a:latin typeface="Arial"/>
                <a:cs typeface="Arial"/>
              </a:endParaRPr>
            </a:p>
          </p:txBody>
        </p:sp>
        <p:sp>
          <p:nvSpPr>
            <p:cNvPr id="37" name="Прямоугольник 36"/>
            <p:cNvSpPr/>
            <p:nvPr userDrawn="1"/>
          </p:nvSpPr>
          <p:spPr bwMode="auto">
            <a:xfrm>
              <a:off x="9024783" y="4481025"/>
              <a:ext cx="36000" cy="158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0">
                <a:latin typeface="Arial"/>
                <a:cs typeface="Arial"/>
              </a:endParaRPr>
            </a:p>
          </p:txBody>
        </p:sp>
        <p:sp>
          <p:nvSpPr>
            <p:cNvPr id="38" name="Прямоугольник 37"/>
            <p:cNvSpPr/>
            <p:nvPr userDrawn="1"/>
          </p:nvSpPr>
          <p:spPr bwMode="auto">
            <a:xfrm>
              <a:off x="9222075" y="4481025"/>
              <a:ext cx="306000" cy="1584000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0">
                <a:latin typeface="Arial"/>
                <a:cs typeface="Arial"/>
              </a:endParaRPr>
            </a:p>
          </p:txBody>
        </p:sp>
        <p:sp>
          <p:nvSpPr>
            <p:cNvPr id="39" name="Прямоугольник 38"/>
            <p:cNvSpPr/>
            <p:nvPr userDrawn="1"/>
          </p:nvSpPr>
          <p:spPr bwMode="auto">
            <a:xfrm>
              <a:off x="9559834" y="4481025"/>
              <a:ext cx="36000" cy="1584000"/>
            </a:xfrm>
            <a:prstGeom prst="rect">
              <a:avLst/>
            </a:prstGeom>
            <a:solidFill>
              <a:srgbClr val="6AA74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0">
                <a:latin typeface="Arial"/>
                <a:cs typeface="Arial"/>
              </a:endParaRPr>
            </a:p>
          </p:txBody>
        </p:sp>
      </p:grpSp>
      <p:pic>
        <p:nvPicPr>
          <p:cNvPr id="19" name="Picture 2" descr="http://www.kgsha.ru/upload/iblock/45e/45ecace79ad4389d1a23893b87f58251.jpg"/>
          <p:cNvPicPr>
            <a:picLocks noChangeAspect="1" noChangeArrowheads="1"/>
          </p:cNvPicPr>
          <p:nvPr userDrawn="1"/>
        </p:nvPicPr>
        <p:blipFill>
          <a:blip r:embed="rId3"/>
          <a:srcRect l="-1250" t="17505" r="1250" b="34899"/>
          <a:stretch/>
        </p:blipFill>
        <p:spPr bwMode="auto">
          <a:xfrm>
            <a:off x="-152400" y="1052513"/>
            <a:ext cx="12357100" cy="4094898"/>
          </a:xfrm>
          <a:prstGeom prst="rect">
            <a:avLst/>
          </a:prstGeom>
          <a:noFill/>
        </p:spPr>
      </p:pic>
      <p:sp>
        <p:nvSpPr>
          <p:cNvPr id="3" name="Полилиния 2"/>
          <p:cNvSpPr/>
          <p:nvPr userDrawn="1"/>
        </p:nvSpPr>
        <p:spPr bwMode="auto">
          <a:xfrm>
            <a:off x="3721100" y="1074739"/>
            <a:ext cx="4055872" cy="2307137"/>
          </a:xfrm>
          <a:custGeom>
            <a:avLst/>
            <a:gdLst>
              <a:gd name="connsiteX0" fmla="*/ 952500 w 3810000"/>
              <a:gd name="connsiteY0" fmla="*/ 3594100 h 3594100"/>
              <a:gd name="connsiteX1" fmla="*/ 3632200 w 3810000"/>
              <a:gd name="connsiteY1" fmla="*/ 1219200 h 3594100"/>
              <a:gd name="connsiteX2" fmla="*/ 3810000 w 3810000"/>
              <a:gd name="connsiteY2" fmla="*/ 0 h 3594100"/>
              <a:gd name="connsiteX3" fmla="*/ 3060700 w 3810000"/>
              <a:gd name="connsiteY3" fmla="*/ 114300 h 3594100"/>
              <a:gd name="connsiteX4" fmla="*/ 0 w 3810000"/>
              <a:gd name="connsiteY4" fmla="*/ 2857500 h 3594100"/>
              <a:gd name="connsiteX5" fmla="*/ 952500 w 3810000"/>
              <a:gd name="connsiteY5" fmla="*/ 3594100 h 3594100"/>
              <a:gd name="connsiteX0" fmla="*/ 952500 w 3632200"/>
              <a:gd name="connsiteY0" fmla="*/ 3479800 h 3479800"/>
              <a:gd name="connsiteX1" fmla="*/ 3632200 w 3632200"/>
              <a:gd name="connsiteY1" fmla="*/ 1104900 h 3479800"/>
              <a:gd name="connsiteX2" fmla="*/ 2217460 w 3632200"/>
              <a:gd name="connsiteY2" fmla="*/ 1478163 h 3479800"/>
              <a:gd name="connsiteX3" fmla="*/ 3060700 w 3632200"/>
              <a:gd name="connsiteY3" fmla="*/ 0 h 3479800"/>
              <a:gd name="connsiteX4" fmla="*/ 0 w 3632200"/>
              <a:gd name="connsiteY4" fmla="*/ 2743200 h 3479800"/>
              <a:gd name="connsiteX5" fmla="*/ 952500 w 3632200"/>
              <a:gd name="connsiteY5" fmla="*/ 3479800 h 3479800"/>
              <a:gd name="connsiteX0" fmla="*/ 952500 w 3188708"/>
              <a:gd name="connsiteY0" fmla="*/ 3479800 h 3479800"/>
              <a:gd name="connsiteX1" fmla="*/ 3188708 w 3188708"/>
              <a:gd name="connsiteY1" fmla="*/ 1503016 h 3479800"/>
              <a:gd name="connsiteX2" fmla="*/ 2217460 w 3188708"/>
              <a:gd name="connsiteY2" fmla="*/ 1478163 h 3479800"/>
              <a:gd name="connsiteX3" fmla="*/ 3060700 w 3188708"/>
              <a:gd name="connsiteY3" fmla="*/ 0 h 3479800"/>
              <a:gd name="connsiteX4" fmla="*/ 0 w 3188708"/>
              <a:gd name="connsiteY4" fmla="*/ 2743200 h 3479800"/>
              <a:gd name="connsiteX5" fmla="*/ 952500 w 3188708"/>
              <a:gd name="connsiteY5" fmla="*/ 3479800 h 3479800"/>
              <a:gd name="connsiteX0" fmla="*/ 952500 w 3188708"/>
              <a:gd name="connsiteY0" fmla="*/ 2008984 h 2008984"/>
              <a:gd name="connsiteX1" fmla="*/ 3188708 w 3188708"/>
              <a:gd name="connsiteY1" fmla="*/ 32200 h 2008984"/>
              <a:gd name="connsiteX2" fmla="*/ 2217460 w 3188708"/>
              <a:gd name="connsiteY2" fmla="*/ 7347 h 2008984"/>
              <a:gd name="connsiteX3" fmla="*/ 1427843 w 3188708"/>
              <a:gd name="connsiteY3" fmla="*/ 0 h 2008984"/>
              <a:gd name="connsiteX4" fmla="*/ 0 w 3188708"/>
              <a:gd name="connsiteY4" fmla="*/ 1272384 h 2008984"/>
              <a:gd name="connsiteX5" fmla="*/ 952500 w 3188708"/>
              <a:gd name="connsiteY5" fmla="*/ 2008984 h 2008984"/>
              <a:gd name="connsiteX0" fmla="*/ 952500 w 3218946"/>
              <a:gd name="connsiteY0" fmla="*/ 2008984 h 2008984"/>
              <a:gd name="connsiteX1" fmla="*/ 3218946 w 3218946"/>
              <a:gd name="connsiteY1" fmla="*/ 21141 h 2008984"/>
              <a:gd name="connsiteX2" fmla="*/ 2217460 w 3218946"/>
              <a:gd name="connsiteY2" fmla="*/ 7347 h 2008984"/>
              <a:gd name="connsiteX3" fmla="*/ 1427843 w 3218946"/>
              <a:gd name="connsiteY3" fmla="*/ 0 h 2008984"/>
              <a:gd name="connsiteX4" fmla="*/ 0 w 3218946"/>
              <a:gd name="connsiteY4" fmla="*/ 1272384 h 2008984"/>
              <a:gd name="connsiteX5" fmla="*/ 952500 w 3218946"/>
              <a:gd name="connsiteY5" fmla="*/ 2008984 h 20089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18946" h="2008984" extrusionOk="0">
                <a:moveTo>
                  <a:pt x="952500" y="2008984"/>
                </a:moveTo>
                <a:lnTo>
                  <a:pt x="3218946" y="21141"/>
                </a:lnTo>
                <a:lnTo>
                  <a:pt x="2217460" y="7347"/>
                </a:lnTo>
                <a:lnTo>
                  <a:pt x="1427843" y="0"/>
                </a:lnTo>
                <a:lnTo>
                  <a:pt x="0" y="1272384"/>
                </a:lnTo>
                <a:lnTo>
                  <a:pt x="952500" y="2008984"/>
                </a:lnTo>
                <a:close/>
              </a:path>
            </a:pathLst>
          </a:custGeom>
          <a:gradFill>
            <a:gsLst>
              <a:gs pos="0">
                <a:srgbClr val="EDE7CF"/>
              </a:gs>
              <a:gs pos="33000">
                <a:srgbClr val="FAF3E0"/>
              </a:gs>
              <a:gs pos="72000">
                <a:srgbClr val="FAF5E1"/>
              </a:gs>
              <a:gs pos="100000">
                <a:srgbClr val="FAF1E0"/>
              </a:gs>
            </a:gsLst>
            <a:lin ang="5400000" scaled="1"/>
          </a:gradFill>
          <a:ln>
            <a:solidFill>
              <a:srgbClr val="F6EFD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21" name="Рисунок 20"/>
          <p:cNvPicPr>
            <a:picLocks noChangeAspect="1"/>
          </p:cNvPicPr>
          <p:nvPr userDrawn="1"/>
        </p:nvPicPr>
        <p:blipFill>
          <a:blip r:embed="rId4"/>
          <a:stretch/>
        </p:blipFill>
        <p:spPr bwMode="auto">
          <a:xfrm>
            <a:off x="334963" y="5539272"/>
            <a:ext cx="2598737" cy="75669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Типово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>
          <a:xfrm>
            <a:off x="334963" y="6501099"/>
            <a:ext cx="860583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000">
                <a:latin typeface="Arial Narrow"/>
              </a:defRPr>
            </a:lvl1pPr>
          </a:lstStyle>
          <a:p>
            <a:pPr>
              <a:defRPr/>
            </a:pPr>
            <a:r>
              <a:rPr lang="ru-RU"/>
              <a:t>Тема презентации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9120188" y="6501099"/>
            <a:ext cx="272700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000">
                <a:latin typeface="Arial Narrow"/>
              </a:defRPr>
            </a:lvl1pPr>
          </a:lstStyle>
          <a:p>
            <a:pPr>
              <a:defRPr/>
            </a:pPr>
            <a:fld id="{DAA9B757-E82C-4C61-B4AC-FDC45BBF87A6}" type="slidenum">
              <a:rPr lang="ru-RU"/>
              <a:t>‹#›</a:t>
            </a:fld>
            <a:endParaRPr lang="ru-RU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334963" y="260350"/>
            <a:ext cx="11522074" cy="6477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2400" b="1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10361110" y="276377"/>
            <a:ext cx="1536950" cy="44752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Разделитель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>
          <a:xfrm>
            <a:off x="344107" y="6501099"/>
            <a:ext cx="8596693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000">
                <a:solidFill>
                  <a:schemeClr val="bg1"/>
                </a:solidFill>
                <a:latin typeface="Arial Narrow"/>
              </a:defRPr>
            </a:lvl1pPr>
          </a:lstStyle>
          <a:p>
            <a:pPr>
              <a:defRPr/>
            </a:pPr>
            <a:r>
              <a:rPr lang="ru-RU"/>
              <a:t>Тема презентации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9120188" y="6501099"/>
            <a:ext cx="272700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000">
                <a:solidFill>
                  <a:schemeClr val="bg1"/>
                </a:solidFill>
                <a:latin typeface="Arial Narrow"/>
              </a:defRPr>
            </a:lvl1pPr>
          </a:lstStyle>
          <a:p>
            <a:pPr>
              <a:defRPr/>
            </a:pPr>
            <a:fld id="{DAA9B757-E82C-4C61-B4AC-FDC45BBF87A6}" type="slidenum">
              <a:rPr lang="ru-RU"/>
              <a:t>‹#›</a:t>
            </a:fld>
            <a:endParaRPr lang="ru-RU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334963" y="3370263"/>
            <a:ext cx="11522074" cy="6477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>
              <a:defRPr sz="32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r>
              <a:rPr lang="ru-RU"/>
              <a:t>НАЗАВНИЕ РАЗДЕЛА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Инверсия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>
          <a:xfrm>
            <a:off x="344107" y="6501099"/>
            <a:ext cx="8596693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000">
                <a:solidFill>
                  <a:schemeClr val="bg1"/>
                </a:solidFill>
                <a:latin typeface="Arial Narrow"/>
              </a:defRPr>
            </a:lvl1pPr>
          </a:lstStyle>
          <a:p>
            <a:pPr>
              <a:defRPr/>
            </a:pPr>
            <a:r>
              <a:rPr lang="ru-RU"/>
              <a:t>Тема презентации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9120188" y="6501099"/>
            <a:ext cx="272700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000">
                <a:solidFill>
                  <a:schemeClr val="bg1"/>
                </a:solidFill>
                <a:latin typeface="Arial Narrow"/>
              </a:defRPr>
            </a:lvl1pPr>
          </a:lstStyle>
          <a:p>
            <a:pPr>
              <a:defRPr/>
            </a:pPr>
            <a:fld id="{DAA9B757-E82C-4C61-B4AC-FDC45BBF87A6}" type="slidenum">
              <a:rPr lang="ru-RU"/>
              <a:t>‹#›</a:t>
            </a:fld>
            <a:endParaRPr lang="ru-RU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334963" y="260350"/>
            <a:ext cx="11522074" cy="6477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24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r>
              <a:rPr lang="ru-RU"/>
              <a:t>НАЗАВНИЕ РАЗДЕЛА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oleObj" r:id="rId7" imgW="0" imgH="0" progId="TCLayout.ActiveDocument.1">
                  <p:embed/>
                </p:oleObj>
              </mc:Choice>
              <mc:Fallback>
                <p:oleObj name="oleObj" r:id="rId7" imgW="0" imgH="0" progId="TCLayout.ActiveDocument.1">
                  <p:embed/>
                  <p:pic>
                    <p:nvPicPr>
                      <p:cNvPr id="2" name=""/>
                      <p:cNvPicPr/>
                      <p:nvPr/>
                    </p:nvPicPr>
                    <p:blipFill>
                      <a:blip r:embed="rId8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</p:sldLayoutIdLst>
  <p:hf hdr="0" dt="0"/>
  <p:txStyles>
    <p:titleStyle>
      <a:lvl1pPr algn="l" defTabSz="914558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40" indent="-228640" algn="l" defTabSz="914558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918" indent="-228640" algn="l" defTabSz="914558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197" indent="-228640" algn="l" defTabSz="914558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477" indent="-228640" algn="l" defTabSz="914558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755" indent="-228640" algn="l" defTabSz="914558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5035" indent="-228640" algn="l" defTabSz="914558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2314" indent="-228640" algn="l" defTabSz="914558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593" indent="-228640" algn="l" defTabSz="914558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872" indent="-228640" algn="l" defTabSz="914558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558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79" algn="l" defTabSz="914558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558" algn="l" defTabSz="914558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837" algn="l" defTabSz="914558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9117" algn="l" defTabSz="914558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395" algn="l" defTabSz="914558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674" algn="l" defTabSz="914558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953" algn="l" defTabSz="914558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8233" algn="l" defTabSz="914558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g"/><Relationship Id="rId13" Type="http://schemas.openxmlformats.org/officeDocument/2006/relationships/image" Target="../media/image25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jpg"/><Relationship Id="rId1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 bwMode="auto">
          <a:xfrm>
            <a:off x="1" y="1052514"/>
            <a:ext cx="12191999" cy="4114572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" name="Полилиния 2"/>
          <p:cNvSpPr/>
          <p:nvPr/>
        </p:nvSpPr>
        <p:spPr bwMode="auto">
          <a:xfrm>
            <a:off x="5724524" y="1614503"/>
            <a:ext cx="2609850" cy="2581275"/>
          </a:xfrm>
          <a:custGeom>
            <a:avLst/>
            <a:gdLst>
              <a:gd name="connsiteX0" fmla="*/ 1943100 w 2609850"/>
              <a:gd name="connsiteY0" fmla="*/ 0 h 2581275"/>
              <a:gd name="connsiteX1" fmla="*/ 2609850 w 2609850"/>
              <a:gd name="connsiteY1" fmla="*/ 381000 h 2581275"/>
              <a:gd name="connsiteX2" fmla="*/ 742950 w 2609850"/>
              <a:gd name="connsiteY2" fmla="*/ 2581275 h 2581275"/>
              <a:gd name="connsiteX3" fmla="*/ 0 w 2609850"/>
              <a:gd name="connsiteY3" fmla="*/ 2047875 h 2581275"/>
              <a:gd name="connsiteX4" fmla="*/ 1943100 w 2609850"/>
              <a:gd name="connsiteY4" fmla="*/ 0 h 2581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09850" h="2581275" extrusionOk="0">
                <a:moveTo>
                  <a:pt x="1943100" y="0"/>
                </a:moveTo>
                <a:lnTo>
                  <a:pt x="2609850" y="381000"/>
                </a:lnTo>
                <a:lnTo>
                  <a:pt x="742950" y="2581275"/>
                </a:lnTo>
                <a:lnTo>
                  <a:pt x="0" y="2047875"/>
                </a:lnTo>
                <a:lnTo>
                  <a:pt x="1943100" y="0"/>
                </a:lnTo>
                <a:close/>
              </a:path>
            </a:pathLst>
          </a:custGeom>
          <a:gradFill>
            <a:gsLst>
              <a:gs pos="0">
                <a:srgbClr val="5DB034"/>
              </a:gs>
              <a:gs pos="33000">
                <a:srgbClr val="71BF45"/>
              </a:gs>
              <a:gs pos="72000">
                <a:srgbClr val="70BF3D"/>
              </a:gs>
              <a:gs pos="100000">
                <a:srgbClr val="9BCC58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" name="Прямоугольник 3"/>
          <p:cNvSpPr/>
          <p:nvPr/>
        </p:nvSpPr>
        <p:spPr bwMode="auto">
          <a:xfrm rot="18702603">
            <a:off x="5518987" y="2856357"/>
            <a:ext cx="2571677" cy="602135"/>
          </a:xfrm>
          <a:custGeom>
            <a:avLst/>
            <a:gdLst>
              <a:gd name="connsiteX0" fmla="*/ 0 w 8489723"/>
              <a:gd name="connsiteY0" fmla="*/ 0 h 769441"/>
              <a:gd name="connsiteX1" fmla="*/ 8489723 w 8489723"/>
              <a:gd name="connsiteY1" fmla="*/ 0 h 769441"/>
              <a:gd name="connsiteX2" fmla="*/ 8489723 w 8489723"/>
              <a:gd name="connsiteY2" fmla="*/ 769441 h 769441"/>
              <a:gd name="connsiteX3" fmla="*/ 0 w 8489723"/>
              <a:gd name="connsiteY3" fmla="*/ 769441 h 769441"/>
              <a:gd name="connsiteX4" fmla="*/ 0 w 8489723"/>
              <a:gd name="connsiteY4" fmla="*/ 0 h 769441"/>
              <a:gd name="connsiteX0" fmla="*/ 0 w 8520431"/>
              <a:gd name="connsiteY0" fmla="*/ 0 h 861157"/>
              <a:gd name="connsiteX1" fmla="*/ 8520431 w 8520431"/>
              <a:gd name="connsiteY1" fmla="*/ 91716 h 861157"/>
              <a:gd name="connsiteX2" fmla="*/ 8520431 w 8520431"/>
              <a:gd name="connsiteY2" fmla="*/ 861157 h 861157"/>
              <a:gd name="connsiteX3" fmla="*/ 30708 w 8520431"/>
              <a:gd name="connsiteY3" fmla="*/ 861157 h 861157"/>
              <a:gd name="connsiteX4" fmla="*/ 0 w 8520431"/>
              <a:gd name="connsiteY4" fmla="*/ 0 h 861157"/>
              <a:gd name="connsiteX0" fmla="*/ 0 w 8520431"/>
              <a:gd name="connsiteY0" fmla="*/ 0 h 921236"/>
              <a:gd name="connsiteX1" fmla="*/ 8520431 w 8520431"/>
              <a:gd name="connsiteY1" fmla="*/ 91716 h 921236"/>
              <a:gd name="connsiteX2" fmla="*/ 8520431 w 8520431"/>
              <a:gd name="connsiteY2" fmla="*/ 861157 h 921236"/>
              <a:gd name="connsiteX3" fmla="*/ 58737 w 8520431"/>
              <a:gd name="connsiteY3" fmla="*/ 921236 h 921236"/>
              <a:gd name="connsiteX4" fmla="*/ 0 w 8520431"/>
              <a:gd name="connsiteY4" fmla="*/ 0 h 921236"/>
              <a:gd name="connsiteX0" fmla="*/ 0 w 8520431"/>
              <a:gd name="connsiteY0" fmla="*/ 0 h 921236"/>
              <a:gd name="connsiteX1" fmla="*/ 8293867 w 8520431"/>
              <a:gd name="connsiteY1" fmla="*/ 21757 h 921236"/>
              <a:gd name="connsiteX2" fmla="*/ 8520431 w 8520431"/>
              <a:gd name="connsiteY2" fmla="*/ 861157 h 921236"/>
              <a:gd name="connsiteX3" fmla="*/ 58737 w 8520431"/>
              <a:gd name="connsiteY3" fmla="*/ 921236 h 921236"/>
              <a:gd name="connsiteX4" fmla="*/ 0 w 8520431"/>
              <a:gd name="connsiteY4" fmla="*/ 0 h 921236"/>
              <a:gd name="connsiteX0" fmla="*/ 0 w 8523135"/>
              <a:gd name="connsiteY0" fmla="*/ 0 h 1042457"/>
              <a:gd name="connsiteX1" fmla="*/ 8296571 w 8523135"/>
              <a:gd name="connsiteY1" fmla="*/ 142978 h 1042457"/>
              <a:gd name="connsiteX2" fmla="*/ 8523135 w 8523135"/>
              <a:gd name="connsiteY2" fmla="*/ 982378 h 1042457"/>
              <a:gd name="connsiteX3" fmla="*/ 61441 w 8523135"/>
              <a:gd name="connsiteY3" fmla="*/ 1042457 h 1042457"/>
              <a:gd name="connsiteX4" fmla="*/ 0 w 8523135"/>
              <a:gd name="connsiteY4" fmla="*/ 0 h 1042457"/>
              <a:gd name="connsiteX0" fmla="*/ 0 w 8523135"/>
              <a:gd name="connsiteY0" fmla="*/ 0 h 1106678"/>
              <a:gd name="connsiteX1" fmla="*/ 8296571 w 8523135"/>
              <a:gd name="connsiteY1" fmla="*/ 142978 h 1106678"/>
              <a:gd name="connsiteX2" fmla="*/ 8523135 w 8523135"/>
              <a:gd name="connsiteY2" fmla="*/ 982378 h 1106678"/>
              <a:gd name="connsiteX3" fmla="*/ 387294 w 8523135"/>
              <a:gd name="connsiteY3" fmla="*/ 1106678 h 1106678"/>
              <a:gd name="connsiteX4" fmla="*/ 0 w 8523135"/>
              <a:gd name="connsiteY4" fmla="*/ 0 h 1106678"/>
              <a:gd name="connsiteX0" fmla="*/ 0 w 8714948"/>
              <a:gd name="connsiteY0" fmla="*/ 0 h 1106678"/>
              <a:gd name="connsiteX1" fmla="*/ 8296571 w 8714948"/>
              <a:gd name="connsiteY1" fmla="*/ 142978 h 1106678"/>
              <a:gd name="connsiteX2" fmla="*/ 8714948 w 8714948"/>
              <a:gd name="connsiteY2" fmla="*/ 1019208 h 1106678"/>
              <a:gd name="connsiteX3" fmla="*/ 387294 w 8714948"/>
              <a:gd name="connsiteY3" fmla="*/ 1106678 h 1106678"/>
              <a:gd name="connsiteX4" fmla="*/ 0 w 8714948"/>
              <a:gd name="connsiteY4" fmla="*/ 0 h 1106678"/>
              <a:gd name="connsiteX0" fmla="*/ 0 w 8714948"/>
              <a:gd name="connsiteY0" fmla="*/ 0 h 1019208"/>
              <a:gd name="connsiteX1" fmla="*/ 8296571 w 8714948"/>
              <a:gd name="connsiteY1" fmla="*/ 142978 h 1019208"/>
              <a:gd name="connsiteX2" fmla="*/ 8714948 w 8714948"/>
              <a:gd name="connsiteY2" fmla="*/ 1019208 h 1019208"/>
              <a:gd name="connsiteX3" fmla="*/ 873829 w 8714948"/>
              <a:gd name="connsiteY3" fmla="*/ 867754 h 1019208"/>
              <a:gd name="connsiteX4" fmla="*/ 0 w 8714948"/>
              <a:gd name="connsiteY4" fmla="*/ 0 h 1019208"/>
              <a:gd name="connsiteX0" fmla="*/ 0 w 8714948"/>
              <a:gd name="connsiteY0" fmla="*/ 0 h 1138882"/>
              <a:gd name="connsiteX1" fmla="*/ 8296571 w 8714948"/>
              <a:gd name="connsiteY1" fmla="*/ 142978 h 1138882"/>
              <a:gd name="connsiteX2" fmla="*/ 8714948 w 8714948"/>
              <a:gd name="connsiteY2" fmla="*/ 1019208 h 1138882"/>
              <a:gd name="connsiteX3" fmla="*/ 382781 w 8714948"/>
              <a:gd name="connsiteY3" fmla="*/ 1138882 h 1138882"/>
              <a:gd name="connsiteX4" fmla="*/ 0 w 8714948"/>
              <a:gd name="connsiteY4" fmla="*/ 0 h 1138882"/>
              <a:gd name="connsiteX0" fmla="*/ 1 w 8347125"/>
              <a:gd name="connsiteY0" fmla="*/ 43392 h 995904"/>
              <a:gd name="connsiteX1" fmla="*/ 7928748 w 8347125"/>
              <a:gd name="connsiteY1" fmla="*/ 0 h 995904"/>
              <a:gd name="connsiteX2" fmla="*/ 8347125 w 8347125"/>
              <a:gd name="connsiteY2" fmla="*/ 876230 h 995904"/>
              <a:gd name="connsiteX3" fmla="*/ 14958 w 8347125"/>
              <a:gd name="connsiteY3" fmla="*/ 995904 h 995904"/>
              <a:gd name="connsiteX4" fmla="*/ 1 w 8347125"/>
              <a:gd name="connsiteY4" fmla="*/ 43392 h 995904"/>
              <a:gd name="connsiteX0" fmla="*/ 0 w 8659435"/>
              <a:gd name="connsiteY0" fmla="*/ 0 h 1113342"/>
              <a:gd name="connsiteX1" fmla="*/ 8241058 w 8659435"/>
              <a:gd name="connsiteY1" fmla="*/ 117438 h 1113342"/>
              <a:gd name="connsiteX2" fmla="*/ 8659435 w 8659435"/>
              <a:gd name="connsiteY2" fmla="*/ 993668 h 1113342"/>
              <a:gd name="connsiteX3" fmla="*/ 327268 w 8659435"/>
              <a:gd name="connsiteY3" fmla="*/ 1113342 h 1113342"/>
              <a:gd name="connsiteX4" fmla="*/ 0 w 8659435"/>
              <a:gd name="connsiteY4" fmla="*/ 0 h 1113342"/>
              <a:gd name="connsiteX0" fmla="*/ 0 w 8659435"/>
              <a:gd name="connsiteY0" fmla="*/ 0 h 1113342"/>
              <a:gd name="connsiteX1" fmla="*/ 8241058 w 8659435"/>
              <a:gd name="connsiteY1" fmla="*/ 117438 h 1113342"/>
              <a:gd name="connsiteX2" fmla="*/ 8659435 w 8659435"/>
              <a:gd name="connsiteY2" fmla="*/ 993668 h 1113342"/>
              <a:gd name="connsiteX3" fmla="*/ 327268 w 8659435"/>
              <a:gd name="connsiteY3" fmla="*/ 1113342 h 1113342"/>
              <a:gd name="connsiteX4" fmla="*/ 0 w 8659435"/>
              <a:gd name="connsiteY4" fmla="*/ 0 h 1113342"/>
              <a:gd name="connsiteX0" fmla="*/ 0 w 8659435"/>
              <a:gd name="connsiteY0" fmla="*/ 0 h 1113342"/>
              <a:gd name="connsiteX1" fmla="*/ 8241058 w 8659435"/>
              <a:gd name="connsiteY1" fmla="*/ 117438 h 1113342"/>
              <a:gd name="connsiteX2" fmla="*/ 8659435 w 8659435"/>
              <a:gd name="connsiteY2" fmla="*/ 993668 h 1113342"/>
              <a:gd name="connsiteX3" fmla="*/ 327268 w 8659435"/>
              <a:gd name="connsiteY3" fmla="*/ 1113342 h 1113342"/>
              <a:gd name="connsiteX4" fmla="*/ 0 w 8659435"/>
              <a:gd name="connsiteY4" fmla="*/ 0 h 1113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59435" h="1113342" extrusionOk="0">
                <a:moveTo>
                  <a:pt x="0" y="0"/>
                </a:moveTo>
                <a:lnTo>
                  <a:pt x="8241058" y="117438"/>
                </a:lnTo>
                <a:lnTo>
                  <a:pt x="8659435" y="993668"/>
                </a:lnTo>
                <a:lnTo>
                  <a:pt x="327268" y="1113342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square" anchor="ctr">
            <a:prstTxWarp prst="textFadeRight">
              <a:avLst>
                <a:gd name="adj" fmla="val 0"/>
              </a:avLst>
            </a:prstTxWarp>
            <a:spAutoFit/>
          </a:bodyPr>
          <a:lstStyle/>
          <a:p>
            <a:pPr marL="261938" indent="-261938">
              <a:defRPr/>
            </a:pPr>
            <a:r>
              <a:rPr lang="ru-RU" sz="1800" b="1">
                <a:solidFill>
                  <a:schemeClr val="bg1"/>
                </a:solidFill>
                <a:latin typeface="Arial"/>
                <a:cs typeface="Arial"/>
              </a:rPr>
              <a:t>  ШКОЛА</a:t>
            </a:r>
            <a:endParaRPr lang="ru-RU" sz="1600" b="1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Полилиния 7"/>
          <p:cNvSpPr/>
          <p:nvPr/>
        </p:nvSpPr>
        <p:spPr bwMode="auto">
          <a:xfrm>
            <a:off x="6581774" y="1581036"/>
            <a:ext cx="2838450" cy="3248025"/>
          </a:xfrm>
          <a:custGeom>
            <a:avLst/>
            <a:gdLst>
              <a:gd name="connsiteX0" fmla="*/ 1943100 w 2609850"/>
              <a:gd name="connsiteY0" fmla="*/ 0 h 2581275"/>
              <a:gd name="connsiteX1" fmla="*/ 2609850 w 2609850"/>
              <a:gd name="connsiteY1" fmla="*/ 381000 h 2581275"/>
              <a:gd name="connsiteX2" fmla="*/ 742950 w 2609850"/>
              <a:gd name="connsiteY2" fmla="*/ 2581275 h 2581275"/>
              <a:gd name="connsiteX3" fmla="*/ 0 w 2609850"/>
              <a:gd name="connsiteY3" fmla="*/ 2047875 h 2581275"/>
              <a:gd name="connsiteX4" fmla="*/ 1943100 w 2609850"/>
              <a:gd name="connsiteY4" fmla="*/ 0 h 2581275"/>
              <a:gd name="connsiteX0" fmla="*/ 2143125 w 2609850"/>
              <a:gd name="connsiteY0" fmla="*/ 0 h 3143250"/>
              <a:gd name="connsiteX1" fmla="*/ 2609850 w 2609850"/>
              <a:gd name="connsiteY1" fmla="*/ 942975 h 3143250"/>
              <a:gd name="connsiteX2" fmla="*/ 742950 w 2609850"/>
              <a:gd name="connsiteY2" fmla="*/ 3143250 h 3143250"/>
              <a:gd name="connsiteX3" fmla="*/ 0 w 2609850"/>
              <a:gd name="connsiteY3" fmla="*/ 2609850 h 3143250"/>
              <a:gd name="connsiteX4" fmla="*/ 2143125 w 2609850"/>
              <a:gd name="connsiteY4" fmla="*/ 0 h 3143250"/>
              <a:gd name="connsiteX0" fmla="*/ 2143125 w 2762250"/>
              <a:gd name="connsiteY0" fmla="*/ 0 h 3143250"/>
              <a:gd name="connsiteX1" fmla="*/ 2762250 w 2762250"/>
              <a:gd name="connsiteY1" fmla="*/ 381000 h 3143250"/>
              <a:gd name="connsiteX2" fmla="*/ 742950 w 2762250"/>
              <a:gd name="connsiteY2" fmla="*/ 3143250 h 3143250"/>
              <a:gd name="connsiteX3" fmla="*/ 0 w 2762250"/>
              <a:gd name="connsiteY3" fmla="*/ 2609850 h 3143250"/>
              <a:gd name="connsiteX4" fmla="*/ 2143125 w 2762250"/>
              <a:gd name="connsiteY4" fmla="*/ 0 h 3143250"/>
              <a:gd name="connsiteX0" fmla="*/ 2219325 w 2838450"/>
              <a:gd name="connsiteY0" fmla="*/ 0 h 3143250"/>
              <a:gd name="connsiteX1" fmla="*/ 2838450 w 2838450"/>
              <a:gd name="connsiteY1" fmla="*/ 381000 h 3143250"/>
              <a:gd name="connsiteX2" fmla="*/ 819150 w 2838450"/>
              <a:gd name="connsiteY2" fmla="*/ 3143250 h 3143250"/>
              <a:gd name="connsiteX3" fmla="*/ 0 w 2838450"/>
              <a:gd name="connsiteY3" fmla="*/ 2686050 h 3143250"/>
              <a:gd name="connsiteX4" fmla="*/ 2219325 w 2838450"/>
              <a:gd name="connsiteY4" fmla="*/ 0 h 3143250"/>
              <a:gd name="connsiteX0" fmla="*/ 2219325 w 2838450"/>
              <a:gd name="connsiteY0" fmla="*/ 0 h 3248025"/>
              <a:gd name="connsiteX1" fmla="*/ 2838450 w 2838450"/>
              <a:gd name="connsiteY1" fmla="*/ 381000 h 3248025"/>
              <a:gd name="connsiteX2" fmla="*/ 781050 w 2838450"/>
              <a:gd name="connsiteY2" fmla="*/ 3248025 h 3248025"/>
              <a:gd name="connsiteX3" fmla="*/ 0 w 2838450"/>
              <a:gd name="connsiteY3" fmla="*/ 2686050 h 3248025"/>
              <a:gd name="connsiteX4" fmla="*/ 2219325 w 2838450"/>
              <a:gd name="connsiteY4" fmla="*/ 0 h 3248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8450" h="3248025" extrusionOk="0">
                <a:moveTo>
                  <a:pt x="2219325" y="0"/>
                </a:moveTo>
                <a:lnTo>
                  <a:pt x="2838450" y="381000"/>
                </a:lnTo>
                <a:lnTo>
                  <a:pt x="781050" y="3248025"/>
                </a:lnTo>
                <a:lnTo>
                  <a:pt x="0" y="2686050"/>
                </a:lnTo>
                <a:lnTo>
                  <a:pt x="2219325" y="0"/>
                </a:lnTo>
                <a:close/>
              </a:path>
            </a:pathLst>
          </a:custGeom>
          <a:gradFill>
            <a:gsLst>
              <a:gs pos="0">
                <a:srgbClr val="34712A"/>
              </a:gs>
              <a:gs pos="28000">
                <a:srgbClr val="356F29"/>
              </a:gs>
              <a:gs pos="72000">
                <a:srgbClr val="3A7631"/>
              </a:gs>
              <a:gs pos="100000">
                <a:srgbClr val="46803A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prstTxWarp prst="textPlain">
              <a:avLst>
                <a:gd name="adj" fmla="val 50000"/>
              </a:avLst>
            </a:prstTxWarp>
          </a:bodyPr>
          <a:lstStyle/>
          <a:p>
            <a:pPr algn="ctr">
              <a:defRPr/>
            </a:pPr>
            <a:endParaRPr lang="ru-RU"/>
          </a:p>
        </p:txBody>
      </p:sp>
      <p:sp>
        <p:nvSpPr>
          <p:cNvPr id="7" name="Прямоугольник 3"/>
          <p:cNvSpPr/>
          <p:nvPr/>
        </p:nvSpPr>
        <p:spPr bwMode="auto">
          <a:xfrm rot="17747471">
            <a:off x="6314404" y="2962823"/>
            <a:ext cx="3190973" cy="712501"/>
          </a:xfrm>
          <a:custGeom>
            <a:avLst/>
            <a:gdLst>
              <a:gd name="connsiteX0" fmla="*/ 0 w 8489723"/>
              <a:gd name="connsiteY0" fmla="*/ 0 h 769441"/>
              <a:gd name="connsiteX1" fmla="*/ 8489723 w 8489723"/>
              <a:gd name="connsiteY1" fmla="*/ 0 h 769441"/>
              <a:gd name="connsiteX2" fmla="*/ 8489723 w 8489723"/>
              <a:gd name="connsiteY2" fmla="*/ 769441 h 769441"/>
              <a:gd name="connsiteX3" fmla="*/ 0 w 8489723"/>
              <a:gd name="connsiteY3" fmla="*/ 769441 h 769441"/>
              <a:gd name="connsiteX4" fmla="*/ 0 w 8489723"/>
              <a:gd name="connsiteY4" fmla="*/ 0 h 769441"/>
              <a:gd name="connsiteX0" fmla="*/ 0 w 8520431"/>
              <a:gd name="connsiteY0" fmla="*/ 0 h 861157"/>
              <a:gd name="connsiteX1" fmla="*/ 8520431 w 8520431"/>
              <a:gd name="connsiteY1" fmla="*/ 91716 h 861157"/>
              <a:gd name="connsiteX2" fmla="*/ 8520431 w 8520431"/>
              <a:gd name="connsiteY2" fmla="*/ 861157 h 861157"/>
              <a:gd name="connsiteX3" fmla="*/ 30708 w 8520431"/>
              <a:gd name="connsiteY3" fmla="*/ 861157 h 861157"/>
              <a:gd name="connsiteX4" fmla="*/ 0 w 8520431"/>
              <a:gd name="connsiteY4" fmla="*/ 0 h 861157"/>
              <a:gd name="connsiteX0" fmla="*/ 0 w 8520431"/>
              <a:gd name="connsiteY0" fmla="*/ 0 h 921236"/>
              <a:gd name="connsiteX1" fmla="*/ 8520431 w 8520431"/>
              <a:gd name="connsiteY1" fmla="*/ 91716 h 921236"/>
              <a:gd name="connsiteX2" fmla="*/ 8520431 w 8520431"/>
              <a:gd name="connsiteY2" fmla="*/ 861157 h 921236"/>
              <a:gd name="connsiteX3" fmla="*/ 58737 w 8520431"/>
              <a:gd name="connsiteY3" fmla="*/ 921236 h 921236"/>
              <a:gd name="connsiteX4" fmla="*/ 0 w 8520431"/>
              <a:gd name="connsiteY4" fmla="*/ 0 h 921236"/>
              <a:gd name="connsiteX0" fmla="*/ 0 w 8520431"/>
              <a:gd name="connsiteY0" fmla="*/ 0 h 921236"/>
              <a:gd name="connsiteX1" fmla="*/ 8293867 w 8520431"/>
              <a:gd name="connsiteY1" fmla="*/ 21757 h 921236"/>
              <a:gd name="connsiteX2" fmla="*/ 8520431 w 8520431"/>
              <a:gd name="connsiteY2" fmla="*/ 861157 h 921236"/>
              <a:gd name="connsiteX3" fmla="*/ 58737 w 8520431"/>
              <a:gd name="connsiteY3" fmla="*/ 921236 h 921236"/>
              <a:gd name="connsiteX4" fmla="*/ 0 w 8520431"/>
              <a:gd name="connsiteY4" fmla="*/ 0 h 921236"/>
              <a:gd name="connsiteX0" fmla="*/ 0 w 8523135"/>
              <a:gd name="connsiteY0" fmla="*/ 0 h 1042457"/>
              <a:gd name="connsiteX1" fmla="*/ 8296571 w 8523135"/>
              <a:gd name="connsiteY1" fmla="*/ 142978 h 1042457"/>
              <a:gd name="connsiteX2" fmla="*/ 8523135 w 8523135"/>
              <a:gd name="connsiteY2" fmla="*/ 982378 h 1042457"/>
              <a:gd name="connsiteX3" fmla="*/ 61441 w 8523135"/>
              <a:gd name="connsiteY3" fmla="*/ 1042457 h 1042457"/>
              <a:gd name="connsiteX4" fmla="*/ 0 w 8523135"/>
              <a:gd name="connsiteY4" fmla="*/ 0 h 1042457"/>
              <a:gd name="connsiteX0" fmla="*/ 0 w 8523135"/>
              <a:gd name="connsiteY0" fmla="*/ 0 h 1106678"/>
              <a:gd name="connsiteX1" fmla="*/ 8296571 w 8523135"/>
              <a:gd name="connsiteY1" fmla="*/ 142978 h 1106678"/>
              <a:gd name="connsiteX2" fmla="*/ 8523135 w 8523135"/>
              <a:gd name="connsiteY2" fmla="*/ 982378 h 1106678"/>
              <a:gd name="connsiteX3" fmla="*/ 387294 w 8523135"/>
              <a:gd name="connsiteY3" fmla="*/ 1106678 h 1106678"/>
              <a:gd name="connsiteX4" fmla="*/ 0 w 8523135"/>
              <a:gd name="connsiteY4" fmla="*/ 0 h 1106678"/>
              <a:gd name="connsiteX0" fmla="*/ 0 w 8714948"/>
              <a:gd name="connsiteY0" fmla="*/ 0 h 1106678"/>
              <a:gd name="connsiteX1" fmla="*/ 8296571 w 8714948"/>
              <a:gd name="connsiteY1" fmla="*/ 142978 h 1106678"/>
              <a:gd name="connsiteX2" fmla="*/ 8714948 w 8714948"/>
              <a:gd name="connsiteY2" fmla="*/ 1019208 h 1106678"/>
              <a:gd name="connsiteX3" fmla="*/ 387294 w 8714948"/>
              <a:gd name="connsiteY3" fmla="*/ 1106678 h 1106678"/>
              <a:gd name="connsiteX4" fmla="*/ 0 w 8714948"/>
              <a:gd name="connsiteY4" fmla="*/ 0 h 1106678"/>
              <a:gd name="connsiteX0" fmla="*/ 0 w 8714948"/>
              <a:gd name="connsiteY0" fmla="*/ 0 h 1019208"/>
              <a:gd name="connsiteX1" fmla="*/ 8296571 w 8714948"/>
              <a:gd name="connsiteY1" fmla="*/ 142978 h 1019208"/>
              <a:gd name="connsiteX2" fmla="*/ 8714948 w 8714948"/>
              <a:gd name="connsiteY2" fmla="*/ 1019208 h 1019208"/>
              <a:gd name="connsiteX3" fmla="*/ 873829 w 8714948"/>
              <a:gd name="connsiteY3" fmla="*/ 867754 h 1019208"/>
              <a:gd name="connsiteX4" fmla="*/ 0 w 8714948"/>
              <a:gd name="connsiteY4" fmla="*/ 0 h 1019208"/>
              <a:gd name="connsiteX0" fmla="*/ 0 w 8714948"/>
              <a:gd name="connsiteY0" fmla="*/ 0 h 1138882"/>
              <a:gd name="connsiteX1" fmla="*/ 8296571 w 8714948"/>
              <a:gd name="connsiteY1" fmla="*/ 142978 h 1138882"/>
              <a:gd name="connsiteX2" fmla="*/ 8714948 w 8714948"/>
              <a:gd name="connsiteY2" fmla="*/ 1019208 h 1138882"/>
              <a:gd name="connsiteX3" fmla="*/ 382781 w 8714948"/>
              <a:gd name="connsiteY3" fmla="*/ 1138882 h 1138882"/>
              <a:gd name="connsiteX4" fmla="*/ 0 w 8714948"/>
              <a:gd name="connsiteY4" fmla="*/ 0 h 1138882"/>
              <a:gd name="connsiteX0" fmla="*/ 1 w 8347125"/>
              <a:gd name="connsiteY0" fmla="*/ 43392 h 995904"/>
              <a:gd name="connsiteX1" fmla="*/ 7928748 w 8347125"/>
              <a:gd name="connsiteY1" fmla="*/ 0 h 995904"/>
              <a:gd name="connsiteX2" fmla="*/ 8347125 w 8347125"/>
              <a:gd name="connsiteY2" fmla="*/ 876230 h 995904"/>
              <a:gd name="connsiteX3" fmla="*/ 14958 w 8347125"/>
              <a:gd name="connsiteY3" fmla="*/ 995904 h 995904"/>
              <a:gd name="connsiteX4" fmla="*/ 1 w 8347125"/>
              <a:gd name="connsiteY4" fmla="*/ 43392 h 995904"/>
              <a:gd name="connsiteX0" fmla="*/ 0 w 8659435"/>
              <a:gd name="connsiteY0" fmla="*/ 0 h 1113342"/>
              <a:gd name="connsiteX1" fmla="*/ 8241058 w 8659435"/>
              <a:gd name="connsiteY1" fmla="*/ 117438 h 1113342"/>
              <a:gd name="connsiteX2" fmla="*/ 8659435 w 8659435"/>
              <a:gd name="connsiteY2" fmla="*/ 993668 h 1113342"/>
              <a:gd name="connsiteX3" fmla="*/ 327268 w 8659435"/>
              <a:gd name="connsiteY3" fmla="*/ 1113342 h 1113342"/>
              <a:gd name="connsiteX4" fmla="*/ 0 w 8659435"/>
              <a:gd name="connsiteY4" fmla="*/ 0 h 1113342"/>
              <a:gd name="connsiteX0" fmla="*/ 0 w 8659435"/>
              <a:gd name="connsiteY0" fmla="*/ 0 h 1113342"/>
              <a:gd name="connsiteX1" fmla="*/ 8241058 w 8659435"/>
              <a:gd name="connsiteY1" fmla="*/ 117438 h 1113342"/>
              <a:gd name="connsiteX2" fmla="*/ 8659435 w 8659435"/>
              <a:gd name="connsiteY2" fmla="*/ 993668 h 1113342"/>
              <a:gd name="connsiteX3" fmla="*/ 327268 w 8659435"/>
              <a:gd name="connsiteY3" fmla="*/ 1113342 h 1113342"/>
              <a:gd name="connsiteX4" fmla="*/ 0 w 8659435"/>
              <a:gd name="connsiteY4" fmla="*/ 0 h 1113342"/>
              <a:gd name="connsiteX0" fmla="*/ 0 w 8659435"/>
              <a:gd name="connsiteY0" fmla="*/ 0 h 1113342"/>
              <a:gd name="connsiteX1" fmla="*/ 8241058 w 8659435"/>
              <a:gd name="connsiteY1" fmla="*/ 117438 h 1113342"/>
              <a:gd name="connsiteX2" fmla="*/ 8659435 w 8659435"/>
              <a:gd name="connsiteY2" fmla="*/ 993668 h 1113342"/>
              <a:gd name="connsiteX3" fmla="*/ 327268 w 8659435"/>
              <a:gd name="connsiteY3" fmla="*/ 1113342 h 1113342"/>
              <a:gd name="connsiteX4" fmla="*/ 0 w 8659435"/>
              <a:gd name="connsiteY4" fmla="*/ 0 h 1113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59435" h="1113342" extrusionOk="0">
                <a:moveTo>
                  <a:pt x="0" y="0"/>
                </a:moveTo>
                <a:lnTo>
                  <a:pt x="8241058" y="117438"/>
                </a:lnTo>
                <a:lnTo>
                  <a:pt x="8659435" y="993668"/>
                </a:lnTo>
                <a:lnTo>
                  <a:pt x="327268" y="1113342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square" anchor="ctr">
            <a:prstTxWarp prst="textFadeRight">
              <a:avLst>
                <a:gd name="adj" fmla="val 3675"/>
              </a:avLst>
            </a:prstTxWarp>
            <a:spAutoFit/>
          </a:bodyPr>
          <a:lstStyle/>
          <a:p>
            <a:pPr marL="261938" indent="-261938">
              <a:defRPr/>
            </a:pPr>
            <a:r>
              <a:rPr lang="ru-RU" sz="1800" b="1">
                <a:solidFill>
                  <a:schemeClr val="bg1"/>
                </a:solidFill>
                <a:latin typeface="Arial"/>
                <a:cs typeface="Arial"/>
              </a:rPr>
              <a:t> ФЕРМЕРА</a:t>
            </a:r>
            <a:endParaRPr lang="ru-RU" sz="1600" b="1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itle 1"/>
          <p:cNvSpPr txBox="1"/>
          <p:nvPr/>
        </p:nvSpPr>
        <p:spPr bwMode="auto">
          <a:xfrm>
            <a:off x="337468" y="2333053"/>
            <a:ext cx="7237038" cy="1144173"/>
          </a:xfrm>
          <a:prstGeom prst="rect">
            <a:avLst/>
          </a:prstGeom>
        </p:spPr>
        <p:txBody>
          <a:bodyPr lIns="108000" rIns="180000" anchor="ctr">
            <a:noAutofit/>
          </a:bodyPr>
          <a:lstStyle>
            <a:lvl1pPr algn="l" defTabSz="914558">
              <a:lnSpc>
                <a:spcPct val="90000"/>
              </a:lnSpc>
              <a:spcBef>
                <a:spcPts val="0"/>
              </a:spcBef>
              <a:buNone/>
              <a:defRPr sz="2400" b="1">
                <a:solidFill>
                  <a:srgbClr val="2B6030"/>
                </a:solidFill>
                <a:latin typeface="Arial"/>
                <a:ea typeface="+mj-ea"/>
                <a:cs typeface="Arial"/>
              </a:defRPr>
            </a:lvl1pPr>
          </a:lstStyle>
          <a:p>
            <a:pPr marL="85725">
              <a:defRPr/>
            </a:pPr>
            <a:r>
              <a:rPr lang="ru-RU" sz="3200">
                <a:solidFill>
                  <a:srgbClr val="000000"/>
                </a:solidFill>
              </a:rPr>
              <a:t>«ШКОЛА ФЕРМЕРА» 2020-2024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1" name="Прямоугольник 30"/>
          <p:cNvSpPr/>
          <p:nvPr/>
        </p:nvSpPr>
        <p:spPr bwMode="auto">
          <a:xfrm>
            <a:off x="6411495" y="0"/>
            <a:ext cx="5780504" cy="6858000"/>
          </a:xfrm>
          <a:prstGeom prst="rect">
            <a:avLst/>
          </a:prstGeom>
          <a:solidFill>
            <a:srgbClr val="0880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2" name="Равнобедренный треугольник 31"/>
          <p:cNvSpPr/>
          <p:nvPr/>
        </p:nvSpPr>
        <p:spPr bwMode="auto">
          <a:xfrm rot="5400000">
            <a:off x="4638761" y="1753012"/>
            <a:ext cx="6858001" cy="3351978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6" name="Номер слайда 2"/>
          <p:cNvSpPr>
            <a:spLocks noGrp="1"/>
          </p:cNvSpPr>
          <p:nvPr>
            <p:ph type="sldNum" sz="quarter" idx="12"/>
          </p:nvPr>
        </p:nvSpPr>
        <p:spPr bwMode="auto">
          <a:xfrm>
            <a:off x="9120188" y="6554394"/>
            <a:ext cx="2727006" cy="153888"/>
          </a:xfrm>
        </p:spPr>
        <p:txBody>
          <a:bodyPr/>
          <a:lstStyle/>
          <a:p>
            <a:pPr>
              <a:defRPr/>
            </a:pPr>
            <a:fld id="{DAA9B757-E82C-4C61-B4AC-FDC45BBF87A6}" type="slidenum">
              <a:rPr lang="ru-RU" sz="1100"/>
              <a:t>2</a:t>
            </a:fld>
            <a:endParaRPr lang="ru-RU" sz="1100"/>
          </a:p>
        </p:txBody>
      </p:sp>
      <p:sp>
        <p:nvSpPr>
          <p:cNvPr id="30" name="Прямоугольник 29"/>
          <p:cNvSpPr/>
          <p:nvPr/>
        </p:nvSpPr>
        <p:spPr bwMode="auto">
          <a:xfrm>
            <a:off x="334963" y="478478"/>
            <a:ext cx="9409112" cy="707886"/>
          </a:xfrm>
          <a:prstGeom prst="rect">
            <a:avLst/>
          </a:prstGeom>
          <a:solidFill>
            <a:schemeClr val="accent3"/>
          </a:solidFill>
        </p:spPr>
        <p:txBody>
          <a:bodyPr wrap="square">
            <a:spAutoFit/>
          </a:bodyPr>
          <a:lstStyle/>
          <a:p>
            <a:pPr marL="261938" indent="-261938">
              <a:defRPr/>
            </a:pPr>
            <a:r>
              <a:rPr lang="ru-RU" sz="4000" b="1">
                <a:solidFill>
                  <a:schemeClr val="bg1"/>
                </a:solidFill>
                <a:latin typeface="Arial"/>
                <a:cs typeface="Arial"/>
              </a:rPr>
              <a:t>  КЛЮЧЕВЫЕ ЗАДАЧИ БАНКА</a:t>
            </a:r>
            <a:endParaRPr lang="ru-RU" sz="3600" b="1">
              <a:solidFill>
                <a:schemeClr val="bg1"/>
              </a:solidFill>
              <a:latin typeface="Arial"/>
              <a:cs typeface="Arial"/>
            </a:endParaRPr>
          </a:p>
        </p:txBody>
      </p:sp>
      <p:grpSp>
        <p:nvGrpSpPr>
          <p:cNvPr id="115" name="Рисунок 2"/>
          <p:cNvGrpSpPr/>
          <p:nvPr/>
        </p:nvGrpSpPr>
        <p:grpSpPr bwMode="auto">
          <a:xfrm>
            <a:off x="8019477" y="4232777"/>
            <a:ext cx="3307553" cy="2490093"/>
            <a:chOff x="4631769" y="2870869"/>
            <a:chExt cx="631140" cy="463108"/>
          </a:xfrm>
          <a:solidFill>
            <a:schemeClr val="accent3"/>
          </a:solidFill>
        </p:grpSpPr>
        <p:sp>
          <p:nvSpPr>
            <p:cNvPr id="116" name="Полилиния: фигура 109"/>
            <p:cNvSpPr/>
            <p:nvPr/>
          </p:nvSpPr>
          <p:spPr bwMode="auto">
            <a:xfrm>
              <a:off x="4631769" y="3255148"/>
              <a:ext cx="631140" cy="16440"/>
            </a:xfrm>
            <a:custGeom>
              <a:avLst/>
              <a:gdLst>
                <a:gd name="connsiteX0" fmla="*/ 622920 w 631140"/>
                <a:gd name="connsiteY0" fmla="*/ 16441 h 16440"/>
                <a:gd name="connsiteX1" fmla="*/ 8221 w 631140"/>
                <a:gd name="connsiteY1" fmla="*/ 16441 h 16440"/>
                <a:gd name="connsiteX2" fmla="*/ 0 w 631140"/>
                <a:gd name="connsiteY2" fmla="*/ 8220 h 16440"/>
                <a:gd name="connsiteX3" fmla="*/ 8221 w 631140"/>
                <a:gd name="connsiteY3" fmla="*/ 0 h 16440"/>
                <a:gd name="connsiteX4" fmla="*/ 622920 w 631140"/>
                <a:gd name="connsiteY4" fmla="*/ 0 h 16440"/>
                <a:gd name="connsiteX5" fmla="*/ 631141 w 631140"/>
                <a:gd name="connsiteY5" fmla="*/ 8220 h 16440"/>
                <a:gd name="connsiteX6" fmla="*/ 622920 w 631140"/>
                <a:gd name="connsiteY6" fmla="*/ 16441 h 16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31140" h="16440" extrusionOk="0">
                  <a:moveTo>
                    <a:pt x="622920" y="16441"/>
                  </a:moveTo>
                  <a:lnTo>
                    <a:pt x="8221" y="16441"/>
                  </a:lnTo>
                  <a:cubicBezTo>
                    <a:pt x="3680" y="16441"/>
                    <a:pt x="0" y="12761"/>
                    <a:pt x="0" y="8220"/>
                  </a:cubicBezTo>
                  <a:cubicBezTo>
                    <a:pt x="0" y="3679"/>
                    <a:pt x="3680" y="0"/>
                    <a:pt x="8221" y="0"/>
                  </a:cubicBezTo>
                  <a:lnTo>
                    <a:pt x="622920" y="0"/>
                  </a:lnTo>
                  <a:cubicBezTo>
                    <a:pt x="627461" y="0"/>
                    <a:pt x="631141" y="3679"/>
                    <a:pt x="631141" y="8220"/>
                  </a:cubicBezTo>
                  <a:cubicBezTo>
                    <a:pt x="631141" y="12761"/>
                    <a:pt x="627461" y="16441"/>
                    <a:pt x="622920" y="16441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17" name="Полилиния: фигура 110"/>
            <p:cNvSpPr/>
            <p:nvPr/>
          </p:nvSpPr>
          <p:spPr bwMode="auto">
            <a:xfrm>
              <a:off x="4713292" y="3317537"/>
              <a:ext cx="468078" cy="16440"/>
            </a:xfrm>
            <a:custGeom>
              <a:avLst/>
              <a:gdLst>
                <a:gd name="connsiteX0" fmla="*/ 459858 w 468078"/>
                <a:gd name="connsiteY0" fmla="*/ 16441 h 16440"/>
                <a:gd name="connsiteX1" fmla="*/ 8220 w 468078"/>
                <a:gd name="connsiteY1" fmla="*/ 16441 h 16440"/>
                <a:gd name="connsiteX2" fmla="*/ 0 w 468078"/>
                <a:gd name="connsiteY2" fmla="*/ 8220 h 16440"/>
                <a:gd name="connsiteX3" fmla="*/ 8220 w 468078"/>
                <a:gd name="connsiteY3" fmla="*/ 0 h 16440"/>
                <a:gd name="connsiteX4" fmla="*/ 459858 w 468078"/>
                <a:gd name="connsiteY4" fmla="*/ 0 h 16440"/>
                <a:gd name="connsiteX5" fmla="*/ 468079 w 468078"/>
                <a:gd name="connsiteY5" fmla="*/ 8220 h 16440"/>
                <a:gd name="connsiteX6" fmla="*/ 459858 w 468078"/>
                <a:gd name="connsiteY6" fmla="*/ 16441 h 16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8078" h="16440" extrusionOk="0">
                  <a:moveTo>
                    <a:pt x="459858" y="16441"/>
                  </a:moveTo>
                  <a:lnTo>
                    <a:pt x="8220" y="16441"/>
                  </a:lnTo>
                  <a:cubicBezTo>
                    <a:pt x="3680" y="16441"/>
                    <a:pt x="0" y="12761"/>
                    <a:pt x="0" y="8220"/>
                  </a:cubicBezTo>
                  <a:cubicBezTo>
                    <a:pt x="0" y="3679"/>
                    <a:pt x="3680" y="0"/>
                    <a:pt x="8220" y="0"/>
                  </a:cubicBezTo>
                  <a:lnTo>
                    <a:pt x="459858" y="0"/>
                  </a:lnTo>
                  <a:cubicBezTo>
                    <a:pt x="464399" y="0"/>
                    <a:pt x="468079" y="3679"/>
                    <a:pt x="468079" y="8220"/>
                  </a:cubicBezTo>
                  <a:cubicBezTo>
                    <a:pt x="468061" y="12761"/>
                    <a:pt x="464399" y="16441"/>
                    <a:pt x="459858" y="16441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20" name="Полилиния: фигура 113"/>
            <p:cNvSpPr/>
            <p:nvPr/>
          </p:nvSpPr>
          <p:spPr bwMode="auto">
            <a:xfrm>
              <a:off x="4939102" y="2968008"/>
              <a:ext cx="16441" cy="303580"/>
            </a:xfrm>
            <a:custGeom>
              <a:avLst/>
              <a:gdLst>
                <a:gd name="connsiteX0" fmla="*/ 8221 w 16441"/>
                <a:gd name="connsiteY0" fmla="*/ 303581 h 303580"/>
                <a:gd name="connsiteX1" fmla="*/ 0 w 16441"/>
                <a:gd name="connsiteY1" fmla="*/ 295360 h 303580"/>
                <a:gd name="connsiteX2" fmla="*/ 0 w 16441"/>
                <a:gd name="connsiteY2" fmla="*/ 8220 h 303580"/>
                <a:gd name="connsiteX3" fmla="*/ 8221 w 16441"/>
                <a:gd name="connsiteY3" fmla="*/ 0 h 303580"/>
                <a:gd name="connsiteX4" fmla="*/ 16441 w 16441"/>
                <a:gd name="connsiteY4" fmla="*/ 8220 h 303580"/>
                <a:gd name="connsiteX5" fmla="*/ 16441 w 16441"/>
                <a:gd name="connsiteY5" fmla="*/ 295360 h 303580"/>
                <a:gd name="connsiteX6" fmla="*/ 8221 w 16441"/>
                <a:gd name="connsiteY6" fmla="*/ 303581 h 303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441" h="303580" extrusionOk="0">
                  <a:moveTo>
                    <a:pt x="8221" y="303581"/>
                  </a:moveTo>
                  <a:cubicBezTo>
                    <a:pt x="3680" y="303581"/>
                    <a:pt x="0" y="299901"/>
                    <a:pt x="0" y="295360"/>
                  </a:cubicBezTo>
                  <a:lnTo>
                    <a:pt x="0" y="8220"/>
                  </a:lnTo>
                  <a:cubicBezTo>
                    <a:pt x="0" y="3679"/>
                    <a:pt x="3680" y="0"/>
                    <a:pt x="8221" y="0"/>
                  </a:cubicBezTo>
                  <a:cubicBezTo>
                    <a:pt x="12762" y="0"/>
                    <a:pt x="16441" y="3679"/>
                    <a:pt x="16441" y="8220"/>
                  </a:cubicBezTo>
                  <a:lnTo>
                    <a:pt x="16441" y="295360"/>
                  </a:lnTo>
                  <a:cubicBezTo>
                    <a:pt x="16441" y="299901"/>
                    <a:pt x="12762" y="303581"/>
                    <a:pt x="8221" y="303581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21" name="Полилиния: фигура 114"/>
            <p:cNvSpPr/>
            <p:nvPr/>
          </p:nvSpPr>
          <p:spPr bwMode="auto">
            <a:xfrm>
              <a:off x="4939119" y="2966927"/>
              <a:ext cx="179192" cy="149407"/>
            </a:xfrm>
            <a:custGeom>
              <a:avLst/>
              <a:gdLst>
                <a:gd name="connsiteX0" fmla="*/ 8203 w 179192"/>
                <a:gd name="connsiteY0" fmla="*/ 149389 h 149407"/>
                <a:gd name="connsiteX1" fmla="*/ 1 w 179192"/>
                <a:gd name="connsiteY1" fmla="*/ 141277 h 149407"/>
                <a:gd name="connsiteX2" fmla="*/ 8113 w 179192"/>
                <a:gd name="connsiteY2" fmla="*/ 132967 h 149407"/>
                <a:gd name="connsiteX3" fmla="*/ 130522 w 179192"/>
                <a:gd name="connsiteY3" fmla="*/ 89531 h 149407"/>
                <a:gd name="connsiteX4" fmla="*/ 162434 w 179192"/>
                <a:gd name="connsiteY4" fmla="*/ 16391 h 149407"/>
                <a:gd name="connsiteX5" fmla="*/ 16172 w 179192"/>
                <a:gd name="connsiteY5" fmla="*/ 73036 h 149407"/>
                <a:gd name="connsiteX6" fmla="*/ 6175 w 179192"/>
                <a:gd name="connsiteY6" fmla="*/ 78888 h 149407"/>
                <a:gd name="connsiteX7" fmla="*/ 252 w 179192"/>
                <a:gd name="connsiteY7" fmla="*/ 69034 h 149407"/>
                <a:gd name="connsiteX8" fmla="*/ 171068 w 179192"/>
                <a:gd name="connsiteY8" fmla="*/ 40 h 149407"/>
                <a:gd name="connsiteX9" fmla="*/ 179162 w 179192"/>
                <a:gd name="connsiteY9" fmla="*/ 7919 h 149407"/>
                <a:gd name="connsiteX10" fmla="*/ 142458 w 179192"/>
                <a:gd name="connsiteY10" fmla="*/ 100857 h 149407"/>
                <a:gd name="connsiteX11" fmla="*/ 8329 w 179192"/>
                <a:gd name="connsiteY11" fmla="*/ 149407 h 149407"/>
                <a:gd name="connsiteX12" fmla="*/ 8203 w 179192"/>
                <a:gd name="connsiteY12" fmla="*/ 149389 h 149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9192" h="149407" extrusionOk="0">
                  <a:moveTo>
                    <a:pt x="8203" y="149389"/>
                  </a:moveTo>
                  <a:cubicBezTo>
                    <a:pt x="3716" y="149389"/>
                    <a:pt x="54" y="145782"/>
                    <a:pt x="1" y="141277"/>
                  </a:cubicBezTo>
                  <a:cubicBezTo>
                    <a:pt x="-53" y="136736"/>
                    <a:pt x="3572" y="133020"/>
                    <a:pt x="8113" y="132967"/>
                  </a:cubicBezTo>
                  <a:cubicBezTo>
                    <a:pt x="62677" y="132284"/>
                    <a:pt x="103869" y="117656"/>
                    <a:pt x="130522" y="89531"/>
                  </a:cubicBezTo>
                  <a:cubicBezTo>
                    <a:pt x="155758" y="62896"/>
                    <a:pt x="161268" y="30911"/>
                    <a:pt x="162434" y="16391"/>
                  </a:cubicBezTo>
                  <a:cubicBezTo>
                    <a:pt x="33026" y="16840"/>
                    <a:pt x="16316" y="72462"/>
                    <a:pt x="16172" y="73036"/>
                  </a:cubicBezTo>
                  <a:cubicBezTo>
                    <a:pt x="14988" y="77380"/>
                    <a:pt x="10537" y="80018"/>
                    <a:pt x="6175" y="78888"/>
                  </a:cubicBezTo>
                  <a:cubicBezTo>
                    <a:pt x="1831" y="77757"/>
                    <a:pt x="-825" y="73395"/>
                    <a:pt x="252" y="69034"/>
                  </a:cubicBezTo>
                  <a:cubicBezTo>
                    <a:pt x="970" y="66126"/>
                    <a:pt x="19744" y="-1881"/>
                    <a:pt x="171068" y="40"/>
                  </a:cubicBezTo>
                  <a:cubicBezTo>
                    <a:pt x="175429" y="112"/>
                    <a:pt x="178983" y="3558"/>
                    <a:pt x="179162" y="7919"/>
                  </a:cubicBezTo>
                  <a:cubicBezTo>
                    <a:pt x="179252" y="10037"/>
                    <a:pt x="180832" y="60383"/>
                    <a:pt x="142458" y="100857"/>
                  </a:cubicBezTo>
                  <a:cubicBezTo>
                    <a:pt x="112627" y="132320"/>
                    <a:pt x="67505" y="148653"/>
                    <a:pt x="8329" y="149407"/>
                  </a:cubicBezTo>
                  <a:cubicBezTo>
                    <a:pt x="8275" y="149389"/>
                    <a:pt x="8239" y="149389"/>
                    <a:pt x="8203" y="149389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22" name="Полилиния: фигура 115"/>
            <p:cNvSpPr/>
            <p:nvPr/>
          </p:nvSpPr>
          <p:spPr bwMode="auto">
            <a:xfrm>
              <a:off x="4797698" y="2960926"/>
              <a:ext cx="157834" cy="188720"/>
            </a:xfrm>
            <a:custGeom>
              <a:avLst/>
              <a:gdLst>
                <a:gd name="connsiteX0" fmla="*/ 149642 w 157834"/>
                <a:gd name="connsiteY0" fmla="*/ 188721 h 188720"/>
                <a:gd name="connsiteX1" fmla="*/ 33246 w 157834"/>
                <a:gd name="connsiteY1" fmla="*/ 135755 h 188720"/>
                <a:gd name="connsiteX2" fmla="*/ 1477 w 157834"/>
                <a:gd name="connsiteY2" fmla="*/ 6974 h 188720"/>
                <a:gd name="connsiteX3" fmla="*/ 4744 w 157834"/>
                <a:gd name="connsiteY3" fmla="*/ 1590 h 188720"/>
                <a:gd name="connsiteX4" fmla="*/ 10864 w 157834"/>
                <a:gd name="connsiteY4" fmla="*/ 100 h 188720"/>
                <a:gd name="connsiteX5" fmla="*/ 157719 w 157834"/>
                <a:gd name="connsiteY5" fmla="*/ 108940 h 188720"/>
                <a:gd name="connsiteX6" fmla="*/ 150988 w 157834"/>
                <a:gd name="connsiteY6" fmla="*/ 118399 h 188720"/>
                <a:gd name="connsiteX7" fmla="*/ 141529 w 157834"/>
                <a:gd name="connsiteY7" fmla="*/ 111686 h 188720"/>
                <a:gd name="connsiteX8" fmla="*/ 16913 w 157834"/>
                <a:gd name="connsiteY8" fmla="*/ 17797 h 188720"/>
                <a:gd name="connsiteX9" fmla="*/ 46115 w 157834"/>
                <a:gd name="connsiteY9" fmla="*/ 125524 h 188720"/>
                <a:gd name="connsiteX10" fmla="*/ 150144 w 157834"/>
                <a:gd name="connsiteY10" fmla="*/ 172280 h 188720"/>
                <a:gd name="connsiteX11" fmla="*/ 157808 w 157834"/>
                <a:gd name="connsiteY11" fmla="*/ 181003 h 188720"/>
                <a:gd name="connsiteX12" fmla="*/ 149642 w 157834"/>
                <a:gd name="connsiteY12" fmla="*/ 188721 h 188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834" h="188720" extrusionOk="0">
                  <a:moveTo>
                    <a:pt x="149642" y="188721"/>
                  </a:moveTo>
                  <a:cubicBezTo>
                    <a:pt x="97807" y="185400"/>
                    <a:pt x="58840" y="167577"/>
                    <a:pt x="33246" y="135755"/>
                  </a:cubicBezTo>
                  <a:cubicBezTo>
                    <a:pt x="-9525" y="82538"/>
                    <a:pt x="1010" y="10044"/>
                    <a:pt x="1477" y="6974"/>
                  </a:cubicBezTo>
                  <a:cubicBezTo>
                    <a:pt x="1800" y="4821"/>
                    <a:pt x="2985" y="2882"/>
                    <a:pt x="4744" y="1590"/>
                  </a:cubicBezTo>
                  <a:cubicBezTo>
                    <a:pt x="6503" y="298"/>
                    <a:pt x="8710" y="-241"/>
                    <a:pt x="10864" y="100"/>
                  </a:cubicBezTo>
                  <a:cubicBezTo>
                    <a:pt x="141403" y="20633"/>
                    <a:pt x="157108" y="105350"/>
                    <a:pt x="157719" y="108940"/>
                  </a:cubicBezTo>
                  <a:cubicBezTo>
                    <a:pt x="158472" y="113409"/>
                    <a:pt x="155457" y="117645"/>
                    <a:pt x="150988" y="118399"/>
                  </a:cubicBezTo>
                  <a:cubicBezTo>
                    <a:pt x="146465" y="119152"/>
                    <a:pt x="142301" y="116137"/>
                    <a:pt x="141529" y="111686"/>
                  </a:cubicBezTo>
                  <a:cubicBezTo>
                    <a:pt x="140973" y="108581"/>
                    <a:pt x="127242" y="38510"/>
                    <a:pt x="16913" y="17797"/>
                  </a:cubicBezTo>
                  <a:cubicBezTo>
                    <a:pt x="15621" y="37487"/>
                    <a:pt x="15818" y="87922"/>
                    <a:pt x="46115" y="125524"/>
                  </a:cubicBezTo>
                  <a:cubicBezTo>
                    <a:pt x="68694" y="153560"/>
                    <a:pt x="103694" y="169283"/>
                    <a:pt x="150144" y="172280"/>
                  </a:cubicBezTo>
                  <a:cubicBezTo>
                    <a:pt x="154667" y="172567"/>
                    <a:pt x="158113" y="176480"/>
                    <a:pt x="157808" y="181003"/>
                  </a:cubicBezTo>
                  <a:cubicBezTo>
                    <a:pt x="157539" y="185382"/>
                    <a:pt x="153932" y="188721"/>
                    <a:pt x="149642" y="188721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23" name="Полилиния: фигура 116"/>
            <p:cNvSpPr/>
            <p:nvPr/>
          </p:nvSpPr>
          <p:spPr bwMode="auto">
            <a:xfrm>
              <a:off x="4939122" y="3011627"/>
              <a:ext cx="111607" cy="70659"/>
            </a:xfrm>
            <a:custGeom>
              <a:avLst/>
              <a:gdLst>
                <a:gd name="connsiteX0" fmla="*/ 8200 w 111607"/>
                <a:gd name="connsiteY0" fmla="*/ 70659 h 70659"/>
                <a:gd name="connsiteX1" fmla="*/ 105 w 111607"/>
                <a:gd name="connsiteY1" fmla="*/ 63767 h 70659"/>
                <a:gd name="connsiteX2" fmla="*/ 6890 w 111607"/>
                <a:gd name="connsiteY2" fmla="*/ 54344 h 70659"/>
                <a:gd name="connsiteX3" fmla="*/ 96578 w 111607"/>
                <a:gd name="connsiteY3" fmla="*/ 3640 h 70659"/>
                <a:gd name="connsiteX4" fmla="*/ 107976 w 111607"/>
                <a:gd name="connsiteY4" fmla="*/ 1396 h 70659"/>
                <a:gd name="connsiteX5" fmla="*/ 110219 w 111607"/>
                <a:gd name="connsiteY5" fmla="*/ 12793 h 70659"/>
                <a:gd name="connsiteX6" fmla="*/ 9528 w 111607"/>
                <a:gd name="connsiteY6" fmla="*/ 70552 h 70659"/>
                <a:gd name="connsiteX7" fmla="*/ 8200 w 111607"/>
                <a:gd name="connsiteY7" fmla="*/ 70659 h 70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1607" h="70659" extrusionOk="0">
                  <a:moveTo>
                    <a:pt x="8200" y="70659"/>
                  </a:moveTo>
                  <a:cubicBezTo>
                    <a:pt x="4233" y="70659"/>
                    <a:pt x="751" y="67788"/>
                    <a:pt x="105" y="63767"/>
                  </a:cubicBezTo>
                  <a:cubicBezTo>
                    <a:pt x="-613" y="59298"/>
                    <a:pt x="2421" y="55080"/>
                    <a:pt x="6890" y="54344"/>
                  </a:cubicBezTo>
                  <a:cubicBezTo>
                    <a:pt x="7518" y="54236"/>
                    <a:pt x="69709" y="43665"/>
                    <a:pt x="96578" y="3640"/>
                  </a:cubicBezTo>
                  <a:cubicBezTo>
                    <a:pt x="99109" y="-129"/>
                    <a:pt x="104206" y="-1135"/>
                    <a:pt x="107976" y="1396"/>
                  </a:cubicBezTo>
                  <a:cubicBezTo>
                    <a:pt x="111745" y="3927"/>
                    <a:pt x="112732" y="9024"/>
                    <a:pt x="110219" y="12793"/>
                  </a:cubicBezTo>
                  <a:cubicBezTo>
                    <a:pt x="79330" y="58795"/>
                    <a:pt x="12364" y="70103"/>
                    <a:pt x="9528" y="70552"/>
                  </a:cubicBezTo>
                  <a:cubicBezTo>
                    <a:pt x="9079" y="70623"/>
                    <a:pt x="8631" y="70659"/>
                    <a:pt x="8200" y="70659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24" name="Полилиния: фигура 117"/>
            <p:cNvSpPr/>
            <p:nvPr/>
          </p:nvSpPr>
          <p:spPr bwMode="auto">
            <a:xfrm>
              <a:off x="4854571" y="3029702"/>
              <a:ext cx="100984" cy="73852"/>
            </a:xfrm>
            <a:custGeom>
              <a:avLst/>
              <a:gdLst>
                <a:gd name="connsiteX0" fmla="*/ 92769 w 100984"/>
                <a:gd name="connsiteY0" fmla="*/ 73853 h 73852"/>
                <a:gd name="connsiteX1" fmla="*/ 91190 w 100984"/>
                <a:gd name="connsiteY1" fmla="*/ 73709 h 73852"/>
                <a:gd name="connsiteX2" fmla="*/ 1878 w 100984"/>
                <a:gd name="connsiteY2" fmla="*/ 13438 h 73852"/>
                <a:gd name="connsiteX3" fmla="*/ 2991 w 100984"/>
                <a:gd name="connsiteY3" fmla="*/ 1879 h 73852"/>
                <a:gd name="connsiteX4" fmla="*/ 14549 w 100984"/>
                <a:gd name="connsiteY4" fmla="*/ 2974 h 73852"/>
                <a:gd name="connsiteX5" fmla="*/ 94349 w 100984"/>
                <a:gd name="connsiteY5" fmla="*/ 57574 h 73852"/>
                <a:gd name="connsiteX6" fmla="*/ 100828 w 100984"/>
                <a:gd name="connsiteY6" fmla="*/ 67212 h 73852"/>
                <a:gd name="connsiteX7" fmla="*/ 92769 w 100984"/>
                <a:gd name="connsiteY7" fmla="*/ 73853 h 73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984" h="73852" extrusionOk="0">
                  <a:moveTo>
                    <a:pt x="92769" y="73853"/>
                  </a:moveTo>
                  <a:cubicBezTo>
                    <a:pt x="92248" y="73853"/>
                    <a:pt x="91710" y="73799"/>
                    <a:pt x="91190" y="73709"/>
                  </a:cubicBezTo>
                  <a:cubicBezTo>
                    <a:pt x="44470" y="64538"/>
                    <a:pt x="3601" y="15520"/>
                    <a:pt x="1878" y="13438"/>
                  </a:cubicBezTo>
                  <a:cubicBezTo>
                    <a:pt x="-1012" y="9938"/>
                    <a:pt x="-509" y="4769"/>
                    <a:pt x="2991" y="1879"/>
                  </a:cubicBezTo>
                  <a:cubicBezTo>
                    <a:pt x="6490" y="-1010"/>
                    <a:pt x="11678" y="-508"/>
                    <a:pt x="14549" y="2974"/>
                  </a:cubicBezTo>
                  <a:cubicBezTo>
                    <a:pt x="14927" y="3441"/>
                    <a:pt x="53444" y="49551"/>
                    <a:pt x="94349" y="57574"/>
                  </a:cubicBezTo>
                  <a:cubicBezTo>
                    <a:pt x="98800" y="58453"/>
                    <a:pt x="101707" y="62761"/>
                    <a:pt x="100828" y="67212"/>
                  </a:cubicBezTo>
                  <a:cubicBezTo>
                    <a:pt x="100056" y="71143"/>
                    <a:pt x="96610" y="73853"/>
                    <a:pt x="92769" y="73853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25" name="Полилиния: фигура 118"/>
            <p:cNvSpPr/>
            <p:nvPr/>
          </p:nvSpPr>
          <p:spPr bwMode="auto">
            <a:xfrm>
              <a:off x="4919868" y="2870869"/>
              <a:ext cx="57903" cy="113580"/>
            </a:xfrm>
            <a:custGeom>
              <a:avLst/>
              <a:gdLst>
                <a:gd name="connsiteX0" fmla="*/ 27454 w 57903"/>
                <a:gd name="connsiteY0" fmla="*/ 113580 h 113580"/>
                <a:gd name="connsiteX1" fmla="*/ 22536 w 57903"/>
                <a:gd name="connsiteY1" fmla="*/ 111947 h 113580"/>
                <a:gd name="connsiteX2" fmla="*/ 20651 w 57903"/>
                <a:gd name="connsiteY2" fmla="*/ 3628 h 113580"/>
                <a:gd name="connsiteX3" fmla="*/ 27634 w 57903"/>
                <a:gd name="connsiteY3" fmla="*/ 20 h 113580"/>
                <a:gd name="connsiteX4" fmla="*/ 34454 w 57903"/>
                <a:gd name="connsiteY4" fmla="*/ 3933 h 113580"/>
                <a:gd name="connsiteX5" fmla="*/ 54700 w 57903"/>
                <a:gd name="connsiteY5" fmla="*/ 88273 h 113580"/>
                <a:gd name="connsiteX6" fmla="*/ 29895 w 57903"/>
                <a:gd name="connsiteY6" fmla="*/ 113204 h 113580"/>
                <a:gd name="connsiteX7" fmla="*/ 27454 w 57903"/>
                <a:gd name="connsiteY7" fmla="*/ 113580 h 113580"/>
                <a:gd name="connsiteX8" fmla="*/ 27508 w 57903"/>
                <a:gd name="connsiteY8" fmla="*/ 24843 h 113580"/>
                <a:gd name="connsiteX9" fmla="*/ 28656 w 57903"/>
                <a:gd name="connsiteY9" fmla="*/ 95686 h 113580"/>
                <a:gd name="connsiteX10" fmla="*/ 39425 w 57903"/>
                <a:gd name="connsiteY10" fmla="*/ 82189 h 113580"/>
                <a:gd name="connsiteX11" fmla="*/ 27508 w 57903"/>
                <a:gd name="connsiteY11" fmla="*/ 24843 h 113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903" h="113580" extrusionOk="0">
                  <a:moveTo>
                    <a:pt x="27454" y="113580"/>
                  </a:moveTo>
                  <a:cubicBezTo>
                    <a:pt x="25695" y="113580"/>
                    <a:pt x="23972" y="113024"/>
                    <a:pt x="22536" y="111947"/>
                  </a:cubicBezTo>
                  <a:cubicBezTo>
                    <a:pt x="-16915" y="82440"/>
                    <a:pt x="4049" y="28200"/>
                    <a:pt x="20651" y="3628"/>
                  </a:cubicBezTo>
                  <a:cubicBezTo>
                    <a:pt x="22213" y="1313"/>
                    <a:pt x="24869" y="-195"/>
                    <a:pt x="27634" y="20"/>
                  </a:cubicBezTo>
                  <a:cubicBezTo>
                    <a:pt x="30434" y="74"/>
                    <a:pt x="33000" y="1564"/>
                    <a:pt x="34454" y="3933"/>
                  </a:cubicBezTo>
                  <a:cubicBezTo>
                    <a:pt x="55813" y="38771"/>
                    <a:pt x="62633" y="67148"/>
                    <a:pt x="54700" y="88273"/>
                  </a:cubicBezTo>
                  <a:cubicBezTo>
                    <a:pt x="47467" y="107514"/>
                    <a:pt x="30613" y="112970"/>
                    <a:pt x="29895" y="113204"/>
                  </a:cubicBezTo>
                  <a:cubicBezTo>
                    <a:pt x="29105" y="113455"/>
                    <a:pt x="28280" y="113580"/>
                    <a:pt x="27454" y="113580"/>
                  </a:cubicBezTo>
                  <a:close/>
                  <a:moveTo>
                    <a:pt x="27508" y="24843"/>
                  </a:moveTo>
                  <a:cubicBezTo>
                    <a:pt x="18785" y="42469"/>
                    <a:pt x="7118" y="75440"/>
                    <a:pt x="28656" y="95686"/>
                  </a:cubicBezTo>
                  <a:cubicBezTo>
                    <a:pt x="31995" y="93604"/>
                    <a:pt x="36787" y="89494"/>
                    <a:pt x="39425" y="82189"/>
                  </a:cubicBezTo>
                  <a:cubicBezTo>
                    <a:pt x="42998" y="72371"/>
                    <a:pt x="43392" y="54727"/>
                    <a:pt x="27508" y="24843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26" name="Полилиния: фигура 119"/>
            <p:cNvSpPr/>
            <p:nvPr/>
          </p:nvSpPr>
          <p:spPr bwMode="auto">
            <a:xfrm>
              <a:off x="5008624" y="3158002"/>
              <a:ext cx="57903" cy="113586"/>
            </a:xfrm>
            <a:custGeom>
              <a:avLst/>
              <a:gdLst>
                <a:gd name="connsiteX0" fmla="*/ 27454 w 57903"/>
                <a:gd name="connsiteY0" fmla="*/ 113587 h 113586"/>
                <a:gd name="connsiteX1" fmla="*/ 22536 w 57903"/>
                <a:gd name="connsiteY1" fmla="*/ 111953 h 113586"/>
                <a:gd name="connsiteX2" fmla="*/ 20652 w 57903"/>
                <a:gd name="connsiteY2" fmla="*/ 3634 h 113586"/>
                <a:gd name="connsiteX3" fmla="*/ 27633 w 57903"/>
                <a:gd name="connsiteY3" fmla="*/ 27 h 113586"/>
                <a:gd name="connsiteX4" fmla="*/ 34454 w 57903"/>
                <a:gd name="connsiteY4" fmla="*/ 3939 h 113586"/>
                <a:gd name="connsiteX5" fmla="*/ 54700 w 57903"/>
                <a:gd name="connsiteY5" fmla="*/ 88279 h 113586"/>
                <a:gd name="connsiteX6" fmla="*/ 29913 w 57903"/>
                <a:gd name="connsiteY6" fmla="*/ 113210 h 113586"/>
                <a:gd name="connsiteX7" fmla="*/ 27454 w 57903"/>
                <a:gd name="connsiteY7" fmla="*/ 113587 h 113586"/>
                <a:gd name="connsiteX8" fmla="*/ 27508 w 57903"/>
                <a:gd name="connsiteY8" fmla="*/ 24849 h 113586"/>
                <a:gd name="connsiteX9" fmla="*/ 28657 w 57903"/>
                <a:gd name="connsiteY9" fmla="*/ 95692 h 113586"/>
                <a:gd name="connsiteX10" fmla="*/ 39426 w 57903"/>
                <a:gd name="connsiteY10" fmla="*/ 82195 h 113586"/>
                <a:gd name="connsiteX11" fmla="*/ 27508 w 57903"/>
                <a:gd name="connsiteY11" fmla="*/ 24849 h 113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903" h="113586" extrusionOk="0">
                  <a:moveTo>
                    <a:pt x="27454" y="113587"/>
                  </a:moveTo>
                  <a:cubicBezTo>
                    <a:pt x="25713" y="113587"/>
                    <a:pt x="23972" y="113030"/>
                    <a:pt x="22536" y="111953"/>
                  </a:cubicBezTo>
                  <a:cubicBezTo>
                    <a:pt x="-16915" y="82446"/>
                    <a:pt x="4049" y="28206"/>
                    <a:pt x="20652" y="3634"/>
                  </a:cubicBezTo>
                  <a:cubicBezTo>
                    <a:pt x="22213" y="1319"/>
                    <a:pt x="24905" y="-225"/>
                    <a:pt x="27633" y="27"/>
                  </a:cubicBezTo>
                  <a:cubicBezTo>
                    <a:pt x="30434" y="80"/>
                    <a:pt x="33000" y="1570"/>
                    <a:pt x="34454" y="3939"/>
                  </a:cubicBezTo>
                  <a:cubicBezTo>
                    <a:pt x="55812" y="38777"/>
                    <a:pt x="62633" y="67172"/>
                    <a:pt x="54700" y="88279"/>
                  </a:cubicBezTo>
                  <a:cubicBezTo>
                    <a:pt x="47467" y="107520"/>
                    <a:pt x="30613" y="112976"/>
                    <a:pt x="29913" y="113210"/>
                  </a:cubicBezTo>
                  <a:cubicBezTo>
                    <a:pt x="29087" y="113461"/>
                    <a:pt x="28262" y="113587"/>
                    <a:pt x="27454" y="113587"/>
                  </a:cubicBezTo>
                  <a:close/>
                  <a:moveTo>
                    <a:pt x="27508" y="24849"/>
                  </a:moveTo>
                  <a:cubicBezTo>
                    <a:pt x="18785" y="42493"/>
                    <a:pt x="7118" y="75446"/>
                    <a:pt x="28657" y="95692"/>
                  </a:cubicBezTo>
                  <a:cubicBezTo>
                    <a:pt x="31995" y="93610"/>
                    <a:pt x="36769" y="89500"/>
                    <a:pt x="39426" y="82195"/>
                  </a:cubicBezTo>
                  <a:cubicBezTo>
                    <a:pt x="42979" y="72377"/>
                    <a:pt x="43374" y="54734"/>
                    <a:pt x="27508" y="24849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27" name="Полилиния: фигура 120"/>
            <p:cNvSpPr/>
            <p:nvPr/>
          </p:nvSpPr>
          <p:spPr bwMode="auto">
            <a:xfrm>
              <a:off x="5112385" y="3111576"/>
              <a:ext cx="77749" cy="160013"/>
            </a:xfrm>
            <a:custGeom>
              <a:avLst/>
              <a:gdLst>
                <a:gd name="connsiteX0" fmla="*/ 36660 w 77749"/>
                <a:gd name="connsiteY0" fmla="*/ 160013 h 160013"/>
                <a:gd name="connsiteX1" fmla="*/ 31742 w 77749"/>
                <a:gd name="connsiteY1" fmla="*/ 158380 h 160013"/>
                <a:gd name="connsiteX2" fmla="*/ 29858 w 77749"/>
                <a:gd name="connsiteY2" fmla="*/ 3628 h 160013"/>
                <a:gd name="connsiteX3" fmla="*/ 36839 w 77749"/>
                <a:gd name="connsiteY3" fmla="*/ 20 h 160013"/>
                <a:gd name="connsiteX4" fmla="*/ 43660 w 77749"/>
                <a:gd name="connsiteY4" fmla="*/ 3933 h 160013"/>
                <a:gd name="connsiteX5" fmla="*/ 73257 w 77749"/>
                <a:gd name="connsiteY5" fmla="*/ 125175 h 160013"/>
                <a:gd name="connsiteX6" fmla="*/ 39101 w 77749"/>
                <a:gd name="connsiteY6" fmla="*/ 159654 h 160013"/>
                <a:gd name="connsiteX7" fmla="*/ 36660 w 77749"/>
                <a:gd name="connsiteY7" fmla="*/ 160013 h 160013"/>
                <a:gd name="connsiteX8" fmla="*/ 36660 w 77749"/>
                <a:gd name="connsiteY8" fmla="*/ 24431 h 160013"/>
                <a:gd name="connsiteX9" fmla="*/ 37952 w 77749"/>
                <a:gd name="connsiteY9" fmla="*/ 142316 h 160013"/>
                <a:gd name="connsiteX10" fmla="*/ 58019 w 77749"/>
                <a:gd name="connsiteY10" fmla="*/ 119073 h 160013"/>
                <a:gd name="connsiteX11" fmla="*/ 36660 w 77749"/>
                <a:gd name="connsiteY11" fmla="*/ 24431 h 160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7749" h="160013" extrusionOk="0">
                  <a:moveTo>
                    <a:pt x="36660" y="160013"/>
                  </a:moveTo>
                  <a:cubicBezTo>
                    <a:pt x="34919" y="160013"/>
                    <a:pt x="33178" y="159457"/>
                    <a:pt x="31742" y="158380"/>
                  </a:cubicBezTo>
                  <a:cubicBezTo>
                    <a:pt x="-24204" y="116542"/>
                    <a:pt x="6040" y="38861"/>
                    <a:pt x="29858" y="3628"/>
                  </a:cubicBezTo>
                  <a:cubicBezTo>
                    <a:pt x="31419" y="1313"/>
                    <a:pt x="34004" y="-195"/>
                    <a:pt x="36839" y="20"/>
                  </a:cubicBezTo>
                  <a:cubicBezTo>
                    <a:pt x="39621" y="74"/>
                    <a:pt x="42188" y="1564"/>
                    <a:pt x="43660" y="3933"/>
                  </a:cubicBezTo>
                  <a:cubicBezTo>
                    <a:pt x="74567" y="54351"/>
                    <a:pt x="84529" y="95147"/>
                    <a:pt x="73257" y="125175"/>
                  </a:cubicBezTo>
                  <a:cubicBezTo>
                    <a:pt x="63241" y="151847"/>
                    <a:pt x="40088" y="159349"/>
                    <a:pt x="39101" y="159654"/>
                  </a:cubicBezTo>
                  <a:cubicBezTo>
                    <a:pt x="38311" y="159888"/>
                    <a:pt x="37486" y="160013"/>
                    <a:pt x="36660" y="160013"/>
                  </a:cubicBezTo>
                  <a:close/>
                  <a:moveTo>
                    <a:pt x="36660" y="24431"/>
                  </a:moveTo>
                  <a:cubicBezTo>
                    <a:pt x="23270" y="49289"/>
                    <a:pt x="-1876" y="108160"/>
                    <a:pt x="37952" y="142316"/>
                  </a:cubicBezTo>
                  <a:cubicBezTo>
                    <a:pt x="43283" y="139534"/>
                    <a:pt x="52975" y="132804"/>
                    <a:pt x="58019" y="119073"/>
                  </a:cubicBezTo>
                  <a:cubicBezTo>
                    <a:pt x="63852" y="103081"/>
                    <a:pt x="64462" y="73986"/>
                    <a:pt x="36660" y="24431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28" name="Полилиния: фигура 121"/>
            <p:cNvSpPr/>
            <p:nvPr/>
          </p:nvSpPr>
          <p:spPr bwMode="auto">
            <a:xfrm>
              <a:off x="4828136" y="3158021"/>
              <a:ext cx="57903" cy="113567"/>
            </a:xfrm>
            <a:custGeom>
              <a:avLst/>
              <a:gdLst>
                <a:gd name="connsiteX0" fmla="*/ 30449 w 57903"/>
                <a:gd name="connsiteY0" fmla="*/ 113568 h 113567"/>
                <a:gd name="connsiteX1" fmla="*/ 28008 w 57903"/>
                <a:gd name="connsiteY1" fmla="*/ 113191 h 113567"/>
                <a:gd name="connsiteX2" fmla="*/ 3204 w 57903"/>
                <a:gd name="connsiteY2" fmla="*/ 88260 h 113567"/>
                <a:gd name="connsiteX3" fmla="*/ 23450 w 57903"/>
                <a:gd name="connsiteY3" fmla="*/ 3920 h 113567"/>
                <a:gd name="connsiteX4" fmla="*/ 30270 w 57903"/>
                <a:gd name="connsiteY4" fmla="*/ 8 h 113567"/>
                <a:gd name="connsiteX5" fmla="*/ 37252 w 57903"/>
                <a:gd name="connsiteY5" fmla="*/ 3615 h 113567"/>
                <a:gd name="connsiteX6" fmla="*/ 35367 w 57903"/>
                <a:gd name="connsiteY6" fmla="*/ 111934 h 113567"/>
                <a:gd name="connsiteX7" fmla="*/ 30449 w 57903"/>
                <a:gd name="connsiteY7" fmla="*/ 113568 h 113567"/>
                <a:gd name="connsiteX8" fmla="*/ 30395 w 57903"/>
                <a:gd name="connsiteY8" fmla="*/ 24830 h 113567"/>
                <a:gd name="connsiteX9" fmla="*/ 18585 w 57903"/>
                <a:gd name="connsiteY9" fmla="*/ 82499 h 113567"/>
                <a:gd name="connsiteX10" fmla="*/ 29247 w 57903"/>
                <a:gd name="connsiteY10" fmla="*/ 95673 h 113567"/>
                <a:gd name="connsiteX11" fmla="*/ 30395 w 57903"/>
                <a:gd name="connsiteY11" fmla="*/ 24830 h 11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903" h="113567" extrusionOk="0">
                  <a:moveTo>
                    <a:pt x="30449" y="113568"/>
                  </a:moveTo>
                  <a:cubicBezTo>
                    <a:pt x="29624" y="113568"/>
                    <a:pt x="28798" y="113442"/>
                    <a:pt x="28008" y="113191"/>
                  </a:cubicBezTo>
                  <a:cubicBezTo>
                    <a:pt x="27290" y="112957"/>
                    <a:pt x="10437" y="107519"/>
                    <a:pt x="3204" y="88260"/>
                  </a:cubicBezTo>
                  <a:cubicBezTo>
                    <a:pt x="-4730" y="67135"/>
                    <a:pt x="2091" y="38758"/>
                    <a:pt x="23450" y="3920"/>
                  </a:cubicBezTo>
                  <a:cubicBezTo>
                    <a:pt x="24903" y="1533"/>
                    <a:pt x="27470" y="61"/>
                    <a:pt x="30270" y="8"/>
                  </a:cubicBezTo>
                  <a:cubicBezTo>
                    <a:pt x="33088" y="-118"/>
                    <a:pt x="35690" y="1300"/>
                    <a:pt x="37252" y="3615"/>
                  </a:cubicBezTo>
                  <a:cubicBezTo>
                    <a:pt x="53854" y="28169"/>
                    <a:pt x="74818" y="82427"/>
                    <a:pt x="35367" y="111934"/>
                  </a:cubicBezTo>
                  <a:cubicBezTo>
                    <a:pt x="33931" y="113011"/>
                    <a:pt x="32208" y="113568"/>
                    <a:pt x="30449" y="113568"/>
                  </a:cubicBezTo>
                  <a:close/>
                  <a:moveTo>
                    <a:pt x="30395" y="24830"/>
                  </a:moveTo>
                  <a:cubicBezTo>
                    <a:pt x="14404" y="54966"/>
                    <a:pt x="14906" y="72663"/>
                    <a:pt x="18585" y="82499"/>
                  </a:cubicBezTo>
                  <a:cubicBezTo>
                    <a:pt x="21242" y="89588"/>
                    <a:pt x="25944" y="93609"/>
                    <a:pt x="29247" y="95673"/>
                  </a:cubicBezTo>
                  <a:cubicBezTo>
                    <a:pt x="50785" y="75427"/>
                    <a:pt x="39119" y="42456"/>
                    <a:pt x="30395" y="24830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29" name="Полилиния: фигура 122"/>
            <p:cNvSpPr/>
            <p:nvPr/>
          </p:nvSpPr>
          <p:spPr bwMode="auto">
            <a:xfrm>
              <a:off x="4704527" y="3111566"/>
              <a:ext cx="77744" cy="160022"/>
            </a:xfrm>
            <a:custGeom>
              <a:avLst/>
              <a:gdLst>
                <a:gd name="connsiteX0" fmla="*/ 41090 w 77744"/>
                <a:gd name="connsiteY0" fmla="*/ 160023 h 160022"/>
                <a:gd name="connsiteX1" fmla="*/ 38649 w 77744"/>
                <a:gd name="connsiteY1" fmla="*/ 159646 h 160022"/>
                <a:gd name="connsiteX2" fmla="*/ 4493 w 77744"/>
                <a:gd name="connsiteY2" fmla="*/ 125167 h 160022"/>
                <a:gd name="connsiteX3" fmla="*/ 34090 w 77744"/>
                <a:gd name="connsiteY3" fmla="*/ 3943 h 160022"/>
                <a:gd name="connsiteX4" fmla="*/ 40911 w 77744"/>
                <a:gd name="connsiteY4" fmla="*/ 30 h 160022"/>
                <a:gd name="connsiteX5" fmla="*/ 47893 w 77744"/>
                <a:gd name="connsiteY5" fmla="*/ 3638 h 160022"/>
                <a:gd name="connsiteX6" fmla="*/ 46008 w 77744"/>
                <a:gd name="connsiteY6" fmla="*/ 158390 h 160022"/>
                <a:gd name="connsiteX7" fmla="*/ 41090 w 77744"/>
                <a:gd name="connsiteY7" fmla="*/ 160023 h 160022"/>
                <a:gd name="connsiteX8" fmla="*/ 41108 w 77744"/>
                <a:gd name="connsiteY8" fmla="*/ 24422 h 160022"/>
                <a:gd name="connsiteX9" fmla="*/ 19749 w 77744"/>
                <a:gd name="connsiteY9" fmla="*/ 119065 h 160022"/>
                <a:gd name="connsiteX10" fmla="*/ 39816 w 77744"/>
                <a:gd name="connsiteY10" fmla="*/ 142308 h 160022"/>
                <a:gd name="connsiteX11" fmla="*/ 41108 w 77744"/>
                <a:gd name="connsiteY11" fmla="*/ 24422 h 16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7744" h="160022" extrusionOk="0">
                  <a:moveTo>
                    <a:pt x="41090" y="160023"/>
                  </a:moveTo>
                  <a:cubicBezTo>
                    <a:pt x="40265" y="160023"/>
                    <a:pt x="39439" y="159897"/>
                    <a:pt x="38649" y="159646"/>
                  </a:cubicBezTo>
                  <a:cubicBezTo>
                    <a:pt x="37662" y="159341"/>
                    <a:pt x="14508" y="151839"/>
                    <a:pt x="4493" y="125167"/>
                  </a:cubicBezTo>
                  <a:cubicBezTo>
                    <a:pt x="-6779" y="95139"/>
                    <a:pt x="3183" y="54342"/>
                    <a:pt x="34090" y="3943"/>
                  </a:cubicBezTo>
                  <a:cubicBezTo>
                    <a:pt x="35544" y="1556"/>
                    <a:pt x="38111" y="84"/>
                    <a:pt x="40911" y="30"/>
                  </a:cubicBezTo>
                  <a:cubicBezTo>
                    <a:pt x="43693" y="-239"/>
                    <a:pt x="46331" y="1323"/>
                    <a:pt x="47893" y="3638"/>
                  </a:cubicBezTo>
                  <a:cubicBezTo>
                    <a:pt x="71692" y="38871"/>
                    <a:pt x="101953" y="116552"/>
                    <a:pt x="46008" y="158390"/>
                  </a:cubicBezTo>
                  <a:cubicBezTo>
                    <a:pt x="44572" y="159467"/>
                    <a:pt x="42831" y="160023"/>
                    <a:pt x="41090" y="160023"/>
                  </a:cubicBezTo>
                  <a:close/>
                  <a:moveTo>
                    <a:pt x="41108" y="24422"/>
                  </a:moveTo>
                  <a:cubicBezTo>
                    <a:pt x="13288" y="73996"/>
                    <a:pt x="13898" y="103090"/>
                    <a:pt x="19749" y="119065"/>
                  </a:cubicBezTo>
                  <a:cubicBezTo>
                    <a:pt x="24793" y="132795"/>
                    <a:pt x="34449" y="139508"/>
                    <a:pt x="39816" y="142308"/>
                  </a:cubicBezTo>
                  <a:cubicBezTo>
                    <a:pt x="79733" y="108098"/>
                    <a:pt x="54534" y="49245"/>
                    <a:pt x="41108" y="24422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30" name="Рисунок 2"/>
          <p:cNvGrpSpPr/>
          <p:nvPr/>
        </p:nvGrpSpPr>
        <p:grpSpPr bwMode="auto">
          <a:xfrm rot="18993780">
            <a:off x="9927289" y="1213521"/>
            <a:ext cx="2982466" cy="1921239"/>
            <a:chOff x="2049055" y="1248669"/>
            <a:chExt cx="612402" cy="362738"/>
          </a:xfrm>
          <a:solidFill>
            <a:schemeClr val="accent3"/>
          </a:solidFill>
        </p:grpSpPr>
        <p:sp>
          <p:nvSpPr>
            <p:cNvPr id="131" name="Полилиния: фигура 582"/>
            <p:cNvSpPr/>
            <p:nvPr/>
          </p:nvSpPr>
          <p:spPr bwMode="auto">
            <a:xfrm>
              <a:off x="2317402" y="1418067"/>
              <a:ext cx="148918" cy="123180"/>
            </a:xfrm>
            <a:custGeom>
              <a:avLst/>
              <a:gdLst>
                <a:gd name="connsiteX0" fmla="*/ 126860 w 148918"/>
                <a:gd name="connsiteY0" fmla="*/ 123180 h 123180"/>
                <a:gd name="connsiteX1" fmla="*/ 22041 w 148918"/>
                <a:gd name="connsiteY1" fmla="*/ 123180 h 123180"/>
                <a:gd name="connsiteX2" fmla="*/ 0 w 148918"/>
                <a:gd name="connsiteY2" fmla="*/ 101140 h 123180"/>
                <a:gd name="connsiteX3" fmla="*/ 0 w 148918"/>
                <a:gd name="connsiteY3" fmla="*/ 41874 h 123180"/>
                <a:gd name="connsiteX4" fmla="*/ 8221 w 148918"/>
                <a:gd name="connsiteY4" fmla="*/ 33653 h 123180"/>
                <a:gd name="connsiteX5" fmla="*/ 16441 w 148918"/>
                <a:gd name="connsiteY5" fmla="*/ 41874 h 123180"/>
                <a:gd name="connsiteX6" fmla="*/ 16441 w 148918"/>
                <a:gd name="connsiteY6" fmla="*/ 101140 h 123180"/>
                <a:gd name="connsiteX7" fmla="*/ 22059 w 148918"/>
                <a:gd name="connsiteY7" fmla="*/ 106758 h 123180"/>
                <a:gd name="connsiteX8" fmla="*/ 126878 w 148918"/>
                <a:gd name="connsiteY8" fmla="*/ 106758 h 123180"/>
                <a:gd name="connsiteX9" fmla="*/ 132478 w 148918"/>
                <a:gd name="connsiteY9" fmla="*/ 101140 h 123180"/>
                <a:gd name="connsiteX10" fmla="*/ 132478 w 148918"/>
                <a:gd name="connsiteY10" fmla="*/ 22059 h 123180"/>
                <a:gd name="connsiteX11" fmla="*/ 126878 w 148918"/>
                <a:gd name="connsiteY11" fmla="*/ 16441 h 123180"/>
                <a:gd name="connsiteX12" fmla="*/ 42466 w 148918"/>
                <a:gd name="connsiteY12" fmla="*/ 16441 h 123180"/>
                <a:gd name="connsiteX13" fmla="*/ 34246 w 148918"/>
                <a:gd name="connsiteY13" fmla="*/ 8220 h 123180"/>
                <a:gd name="connsiteX14" fmla="*/ 42466 w 148918"/>
                <a:gd name="connsiteY14" fmla="*/ 0 h 123180"/>
                <a:gd name="connsiteX15" fmla="*/ 126878 w 148918"/>
                <a:gd name="connsiteY15" fmla="*/ 0 h 123180"/>
                <a:gd name="connsiteX16" fmla="*/ 148919 w 148918"/>
                <a:gd name="connsiteY16" fmla="*/ 22041 h 123180"/>
                <a:gd name="connsiteX17" fmla="*/ 148919 w 148918"/>
                <a:gd name="connsiteY17" fmla="*/ 101122 h 123180"/>
                <a:gd name="connsiteX18" fmla="*/ 126860 w 148918"/>
                <a:gd name="connsiteY18" fmla="*/ 123180 h 123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48918" h="123180" extrusionOk="0">
                  <a:moveTo>
                    <a:pt x="126860" y="123180"/>
                  </a:moveTo>
                  <a:lnTo>
                    <a:pt x="22041" y="123180"/>
                  </a:lnTo>
                  <a:cubicBezTo>
                    <a:pt x="9890" y="123180"/>
                    <a:pt x="0" y="113291"/>
                    <a:pt x="0" y="101140"/>
                  </a:cubicBezTo>
                  <a:lnTo>
                    <a:pt x="0" y="41874"/>
                  </a:lnTo>
                  <a:cubicBezTo>
                    <a:pt x="0" y="37333"/>
                    <a:pt x="3680" y="33653"/>
                    <a:pt x="8221" y="33653"/>
                  </a:cubicBezTo>
                  <a:cubicBezTo>
                    <a:pt x="12762" y="33653"/>
                    <a:pt x="16441" y="37333"/>
                    <a:pt x="16441" y="41874"/>
                  </a:cubicBezTo>
                  <a:lnTo>
                    <a:pt x="16441" y="101140"/>
                  </a:lnTo>
                  <a:cubicBezTo>
                    <a:pt x="16441" y="104227"/>
                    <a:pt x="18954" y="106758"/>
                    <a:pt x="22059" y="106758"/>
                  </a:cubicBezTo>
                  <a:lnTo>
                    <a:pt x="126878" y="106758"/>
                  </a:lnTo>
                  <a:cubicBezTo>
                    <a:pt x="129965" y="106758"/>
                    <a:pt x="132478" y="104245"/>
                    <a:pt x="132478" y="101140"/>
                  </a:cubicBezTo>
                  <a:lnTo>
                    <a:pt x="132478" y="22059"/>
                  </a:lnTo>
                  <a:cubicBezTo>
                    <a:pt x="132478" y="18972"/>
                    <a:pt x="129965" y="16441"/>
                    <a:pt x="126878" y="16441"/>
                  </a:cubicBezTo>
                  <a:lnTo>
                    <a:pt x="42466" y="16441"/>
                  </a:lnTo>
                  <a:cubicBezTo>
                    <a:pt x="37925" y="16441"/>
                    <a:pt x="34246" y="12761"/>
                    <a:pt x="34246" y="8220"/>
                  </a:cubicBezTo>
                  <a:cubicBezTo>
                    <a:pt x="34246" y="3679"/>
                    <a:pt x="37925" y="0"/>
                    <a:pt x="42466" y="0"/>
                  </a:cubicBezTo>
                  <a:lnTo>
                    <a:pt x="126878" y="0"/>
                  </a:lnTo>
                  <a:cubicBezTo>
                    <a:pt x="139029" y="0"/>
                    <a:pt x="148919" y="9890"/>
                    <a:pt x="148919" y="22041"/>
                  </a:cubicBezTo>
                  <a:lnTo>
                    <a:pt x="148919" y="101122"/>
                  </a:lnTo>
                  <a:cubicBezTo>
                    <a:pt x="148901" y="113291"/>
                    <a:pt x="139011" y="123180"/>
                    <a:pt x="126860" y="123180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32" name="Полилиния: фигура 583"/>
            <p:cNvSpPr/>
            <p:nvPr/>
          </p:nvSpPr>
          <p:spPr bwMode="auto">
            <a:xfrm>
              <a:off x="2387579" y="1248920"/>
              <a:ext cx="273878" cy="275832"/>
            </a:xfrm>
            <a:custGeom>
              <a:avLst/>
              <a:gdLst>
                <a:gd name="connsiteX0" fmla="*/ 157572 w 273878"/>
                <a:gd name="connsiteY0" fmla="*/ 275832 h 275832"/>
                <a:gd name="connsiteX1" fmla="*/ 152277 w 273878"/>
                <a:gd name="connsiteY1" fmla="*/ 273912 h 275832"/>
                <a:gd name="connsiteX2" fmla="*/ 149351 w 273878"/>
                <a:gd name="connsiteY2" fmla="*/ 267630 h 275832"/>
                <a:gd name="connsiteX3" fmla="*/ 149351 w 273878"/>
                <a:gd name="connsiteY3" fmla="*/ 235341 h 275832"/>
                <a:gd name="connsiteX4" fmla="*/ 155687 w 273878"/>
                <a:gd name="connsiteY4" fmla="*/ 227336 h 275832"/>
                <a:gd name="connsiteX5" fmla="*/ 225812 w 273878"/>
                <a:gd name="connsiteY5" fmla="*/ 138957 h 275832"/>
                <a:gd name="connsiteX6" fmla="*/ 150356 w 273878"/>
                <a:gd name="connsiteY6" fmla="*/ 49394 h 275832"/>
                <a:gd name="connsiteX7" fmla="*/ 143644 w 273878"/>
                <a:gd name="connsiteY7" fmla="*/ 39917 h 275832"/>
                <a:gd name="connsiteX8" fmla="*/ 153121 w 273878"/>
                <a:gd name="connsiteY8" fmla="*/ 33205 h 275832"/>
                <a:gd name="connsiteX9" fmla="*/ 242235 w 273878"/>
                <a:gd name="connsiteY9" fmla="*/ 138957 h 275832"/>
                <a:gd name="connsiteX10" fmla="*/ 165774 w 273878"/>
                <a:gd name="connsiteY10" fmla="*/ 241640 h 275832"/>
                <a:gd name="connsiteX11" fmla="*/ 165774 w 273878"/>
                <a:gd name="connsiteY11" fmla="*/ 257453 h 275832"/>
                <a:gd name="connsiteX12" fmla="*/ 257491 w 273878"/>
                <a:gd name="connsiteY12" fmla="*/ 138957 h 275832"/>
                <a:gd name="connsiteX13" fmla="*/ 134957 w 273878"/>
                <a:gd name="connsiteY13" fmla="*/ 16423 h 275832"/>
                <a:gd name="connsiteX14" fmla="*/ 19243 w 273878"/>
                <a:gd name="connsiteY14" fmla="*/ 99004 h 275832"/>
                <a:gd name="connsiteX15" fmla="*/ 35450 w 273878"/>
                <a:gd name="connsiteY15" fmla="*/ 99004 h 275832"/>
                <a:gd name="connsiteX16" fmla="*/ 95111 w 273878"/>
                <a:gd name="connsiteY16" fmla="*/ 39325 h 275832"/>
                <a:gd name="connsiteX17" fmla="*/ 105790 w 273878"/>
                <a:gd name="connsiteY17" fmla="*/ 43902 h 275832"/>
                <a:gd name="connsiteX18" fmla="*/ 101213 w 273878"/>
                <a:gd name="connsiteY18" fmla="*/ 54581 h 275832"/>
                <a:gd name="connsiteX19" fmla="*/ 48930 w 273878"/>
                <a:gd name="connsiteY19" fmla="*/ 109863 h 275832"/>
                <a:gd name="connsiteX20" fmla="*/ 41140 w 273878"/>
                <a:gd name="connsiteY20" fmla="*/ 115445 h 275832"/>
                <a:gd name="connsiteX21" fmla="*/ 8222 w 273878"/>
                <a:gd name="connsiteY21" fmla="*/ 115445 h 275832"/>
                <a:gd name="connsiteX22" fmla="*/ 1743 w 273878"/>
                <a:gd name="connsiteY22" fmla="*/ 112286 h 275832"/>
                <a:gd name="connsiteX23" fmla="*/ 253 w 273878"/>
                <a:gd name="connsiteY23" fmla="*/ 105232 h 275832"/>
                <a:gd name="connsiteX24" fmla="*/ 134921 w 273878"/>
                <a:gd name="connsiteY24" fmla="*/ 0 h 275832"/>
                <a:gd name="connsiteX25" fmla="*/ 273878 w 273878"/>
                <a:gd name="connsiteY25" fmla="*/ 138957 h 275832"/>
                <a:gd name="connsiteX26" fmla="*/ 158918 w 273878"/>
                <a:gd name="connsiteY26" fmla="*/ 275707 h 275832"/>
                <a:gd name="connsiteX27" fmla="*/ 157572 w 273878"/>
                <a:gd name="connsiteY27" fmla="*/ 275832 h 275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73878" h="275832" extrusionOk="0">
                  <a:moveTo>
                    <a:pt x="157572" y="275832"/>
                  </a:moveTo>
                  <a:cubicBezTo>
                    <a:pt x="155651" y="275832"/>
                    <a:pt x="153785" y="275150"/>
                    <a:pt x="152277" y="273912"/>
                  </a:cubicBezTo>
                  <a:cubicBezTo>
                    <a:pt x="150410" y="272350"/>
                    <a:pt x="149351" y="270053"/>
                    <a:pt x="149351" y="267630"/>
                  </a:cubicBezTo>
                  <a:lnTo>
                    <a:pt x="149351" y="235341"/>
                  </a:lnTo>
                  <a:cubicBezTo>
                    <a:pt x="149351" y="231518"/>
                    <a:pt x="151972" y="228215"/>
                    <a:pt x="155687" y="227336"/>
                  </a:cubicBezTo>
                  <a:cubicBezTo>
                    <a:pt x="196969" y="217679"/>
                    <a:pt x="225812" y="181334"/>
                    <a:pt x="225812" y="138957"/>
                  </a:cubicBezTo>
                  <a:cubicBezTo>
                    <a:pt x="225812" y="94517"/>
                    <a:pt x="194079" y="56861"/>
                    <a:pt x="150356" y="49394"/>
                  </a:cubicBezTo>
                  <a:cubicBezTo>
                    <a:pt x="145887" y="48640"/>
                    <a:pt x="142890" y="44387"/>
                    <a:pt x="143644" y="39917"/>
                  </a:cubicBezTo>
                  <a:cubicBezTo>
                    <a:pt x="144416" y="35448"/>
                    <a:pt x="148633" y="32433"/>
                    <a:pt x="153121" y="33205"/>
                  </a:cubicBezTo>
                  <a:cubicBezTo>
                    <a:pt x="204758" y="42017"/>
                    <a:pt x="242235" y="86494"/>
                    <a:pt x="242235" y="138957"/>
                  </a:cubicBezTo>
                  <a:cubicBezTo>
                    <a:pt x="242235" y="186808"/>
                    <a:pt x="211112" y="228143"/>
                    <a:pt x="165774" y="241640"/>
                  </a:cubicBezTo>
                  <a:lnTo>
                    <a:pt x="165774" y="257453"/>
                  </a:lnTo>
                  <a:cubicBezTo>
                    <a:pt x="219476" y="243615"/>
                    <a:pt x="257491" y="195262"/>
                    <a:pt x="257491" y="138957"/>
                  </a:cubicBezTo>
                  <a:cubicBezTo>
                    <a:pt x="257491" y="71399"/>
                    <a:pt x="202515" y="16423"/>
                    <a:pt x="134957" y="16423"/>
                  </a:cubicBezTo>
                  <a:cubicBezTo>
                    <a:pt x="82278" y="16423"/>
                    <a:pt x="36097" y="49879"/>
                    <a:pt x="19243" y="99004"/>
                  </a:cubicBezTo>
                  <a:lnTo>
                    <a:pt x="35450" y="99004"/>
                  </a:lnTo>
                  <a:cubicBezTo>
                    <a:pt x="46345" y="71848"/>
                    <a:pt x="67811" y="50274"/>
                    <a:pt x="95111" y="39325"/>
                  </a:cubicBezTo>
                  <a:cubicBezTo>
                    <a:pt x="99347" y="37656"/>
                    <a:pt x="104103" y="39684"/>
                    <a:pt x="105790" y="43902"/>
                  </a:cubicBezTo>
                  <a:cubicBezTo>
                    <a:pt x="107478" y="48120"/>
                    <a:pt x="105432" y="52894"/>
                    <a:pt x="101213" y="54581"/>
                  </a:cubicBezTo>
                  <a:cubicBezTo>
                    <a:pt x="76534" y="64471"/>
                    <a:pt x="57473" y="84627"/>
                    <a:pt x="48930" y="109863"/>
                  </a:cubicBezTo>
                  <a:cubicBezTo>
                    <a:pt x="47799" y="113201"/>
                    <a:pt x="44676" y="115445"/>
                    <a:pt x="41140" y="115445"/>
                  </a:cubicBezTo>
                  <a:lnTo>
                    <a:pt x="8222" y="115445"/>
                  </a:lnTo>
                  <a:cubicBezTo>
                    <a:pt x="5692" y="115445"/>
                    <a:pt x="3305" y="114278"/>
                    <a:pt x="1743" y="112286"/>
                  </a:cubicBezTo>
                  <a:cubicBezTo>
                    <a:pt x="182" y="110293"/>
                    <a:pt x="-375" y="107691"/>
                    <a:pt x="253" y="105232"/>
                  </a:cubicBezTo>
                  <a:cubicBezTo>
                    <a:pt x="15743" y="43274"/>
                    <a:pt x="71114" y="0"/>
                    <a:pt x="134921" y="0"/>
                  </a:cubicBezTo>
                  <a:cubicBezTo>
                    <a:pt x="211543" y="0"/>
                    <a:pt x="273878" y="62335"/>
                    <a:pt x="273878" y="138957"/>
                  </a:cubicBezTo>
                  <a:cubicBezTo>
                    <a:pt x="273878" y="206569"/>
                    <a:pt x="225525" y="264076"/>
                    <a:pt x="158918" y="275707"/>
                  </a:cubicBezTo>
                  <a:cubicBezTo>
                    <a:pt x="158523" y="275796"/>
                    <a:pt x="158038" y="275832"/>
                    <a:pt x="157572" y="275832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44" name="Полилиния: фигура 595"/>
            <p:cNvSpPr/>
            <p:nvPr/>
          </p:nvSpPr>
          <p:spPr bwMode="auto">
            <a:xfrm>
              <a:off x="2049055" y="1248669"/>
              <a:ext cx="90855" cy="165251"/>
            </a:xfrm>
            <a:custGeom>
              <a:avLst/>
              <a:gdLst>
                <a:gd name="connsiteX0" fmla="*/ 8220 w 90855"/>
                <a:gd name="connsiteY0" fmla="*/ 165252 h 165251"/>
                <a:gd name="connsiteX1" fmla="*/ 0 w 90855"/>
                <a:gd name="connsiteY1" fmla="*/ 157031 h 165251"/>
                <a:gd name="connsiteX2" fmla="*/ 0 w 90855"/>
                <a:gd name="connsiteY2" fmla="*/ 8220 h 165251"/>
                <a:gd name="connsiteX3" fmla="*/ 8220 w 90855"/>
                <a:gd name="connsiteY3" fmla="*/ 0 h 165251"/>
                <a:gd name="connsiteX4" fmla="*/ 90855 w 90855"/>
                <a:gd name="connsiteY4" fmla="*/ 82635 h 165251"/>
                <a:gd name="connsiteX5" fmla="*/ 8220 w 90855"/>
                <a:gd name="connsiteY5" fmla="*/ 165252 h 165251"/>
                <a:gd name="connsiteX6" fmla="*/ 16441 w 90855"/>
                <a:gd name="connsiteY6" fmla="*/ 16925 h 165251"/>
                <a:gd name="connsiteX7" fmla="*/ 16441 w 90855"/>
                <a:gd name="connsiteY7" fmla="*/ 148308 h 165251"/>
                <a:gd name="connsiteX8" fmla="*/ 74432 w 90855"/>
                <a:gd name="connsiteY8" fmla="*/ 82617 h 165251"/>
                <a:gd name="connsiteX9" fmla="*/ 16441 w 90855"/>
                <a:gd name="connsiteY9" fmla="*/ 16925 h 165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855" h="165251" extrusionOk="0">
                  <a:moveTo>
                    <a:pt x="8220" y="165252"/>
                  </a:moveTo>
                  <a:cubicBezTo>
                    <a:pt x="3679" y="165252"/>
                    <a:pt x="0" y="161572"/>
                    <a:pt x="0" y="157031"/>
                  </a:cubicBezTo>
                  <a:lnTo>
                    <a:pt x="0" y="8220"/>
                  </a:lnTo>
                  <a:cubicBezTo>
                    <a:pt x="0" y="3679"/>
                    <a:pt x="3679" y="0"/>
                    <a:pt x="8220" y="0"/>
                  </a:cubicBezTo>
                  <a:cubicBezTo>
                    <a:pt x="53792" y="0"/>
                    <a:pt x="90855" y="37064"/>
                    <a:pt x="90855" y="82635"/>
                  </a:cubicBezTo>
                  <a:cubicBezTo>
                    <a:pt x="90855" y="128188"/>
                    <a:pt x="53792" y="165252"/>
                    <a:pt x="8220" y="165252"/>
                  </a:cubicBezTo>
                  <a:close/>
                  <a:moveTo>
                    <a:pt x="16441" y="16925"/>
                  </a:moveTo>
                  <a:lnTo>
                    <a:pt x="16441" y="148308"/>
                  </a:lnTo>
                  <a:cubicBezTo>
                    <a:pt x="49089" y="144252"/>
                    <a:pt x="74432" y="116342"/>
                    <a:pt x="74432" y="82617"/>
                  </a:cubicBezTo>
                  <a:cubicBezTo>
                    <a:pt x="74414" y="48910"/>
                    <a:pt x="49071" y="21000"/>
                    <a:pt x="16441" y="16925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45" name="Полилиния: фигура 596"/>
            <p:cNvSpPr/>
            <p:nvPr/>
          </p:nvSpPr>
          <p:spPr bwMode="auto">
            <a:xfrm>
              <a:off x="2117240" y="1305489"/>
              <a:ext cx="129516" cy="173458"/>
            </a:xfrm>
            <a:custGeom>
              <a:avLst/>
              <a:gdLst>
                <a:gd name="connsiteX0" fmla="*/ 121333 w 129516"/>
                <a:gd name="connsiteY0" fmla="*/ 173459 h 173458"/>
                <a:gd name="connsiteX1" fmla="*/ 115607 w 129516"/>
                <a:gd name="connsiteY1" fmla="*/ 171143 h 173458"/>
                <a:gd name="connsiteX2" fmla="*/ 58046 w 129516"/>
                <a:gd name="connsiteY2" fmla="*/ 115341 h 173458"/>
                <a:gd name="connsiteX3" fmla="*/ 57867 w 129516"/>
                <a:gd name="connsiteY3" fmla="*/ 103729 h 173458"/>
                <a:gd name="connsiteX4" fmla="*/ 69479 w 129516"/>
                <a:gd name="connsiteY4" fmla="*/ 103549 h 173458"/>
                <a:gd name="connsiteX5" fmla="*/ 113094 w 129516"/>
                <a:gd name="connsiteY5" fmla="*/ 145836 h 173458"/>
                <a:gd name="connsiteX6" fmla="*/ 113094 w 129516"/>
                <a:gd name="connsiteY6" fmla="*/ 86983 h 173458"/>
                <a:gd name="connsiteX7" fmla="*/ 22652 w 129516"/>
                <a:gd name="connsiteY7" fmla="*/ 25240 h 173458"/>
                <a:gd name="connsiteX8" fmla="*/ 17859 w 129516"/>
                <a:gd name="connsiteY8" fmla="*/ 53491 h 173458"/>
                <a:gd name="connsiteX9" fmla="*/ 39882 w 129516"/>
                <a:gd name="connsiteY9" fmla="*/ 74832 h 173458"/>
                <a:gd name="connsiteX10" fmla="*/ 40062 w 129516"/>
                <a:gd name="connsiteY10" fmla="*/ 86444 h 173458"/>
                <a:gd name="connsiteX11" fmla="*/ 28449 w 129516"/>
                <a:gd name="connsiteY11" fmla="*/ 86624 h 173458"/>
                <a:gd name="connsiteX12" fmla="*/ 2496 w 129516"/>
                <a:gd name="connsiteY12" fmla="*/ 61460 h 173458"/>
                <a:gd name="connsiteX13" fmla="*/ 683 w 129516"/>
                <a:gd name="connsiteY13" fmla="*/ 52271 h 173458"/>
                <a:gd name="connsiteX14" fmla="*/ 6229 w 129516"/>
                <a:gd name="connsiteY14" fmla="*/ 25796 h 173458"/>
                <a:gd name="connsiteX15" fmla="*/ 4272 w 129516"/>
                <a:gd name="connsiteY15" fmla="*/ 10145 h 173458"/>
                <a:gd name="connsiteX16" fmla="*/ 7575 w 129516"/>
                <a:gd name="connsiteY16" fmla="*/ 1458 h 173458"/>
                <a:gd name="connsiteX17" fmla="*/ 16872 w 129516"/>
                <a:gd name="connsiteY17" fmla="*/ 1422 h 173458"/>
                <a:gd name="connsiteX18" fmla="*/ 125927 w 129516"/>
                <a:gd name="connsiteY18" fmla="*/ 75855 h 173458"/>
                <a:gd name="connsiteX19" fmla="*/ 129517 w 129516"/>
                <a:gd name="connsiteY19" fmla="*/ 82639 h 173458"/>
                <a:gd name="connsiteX20" fmla="*/ 129517 w 129516"/>
                <a:gd name="connsiteY20" fmla="*/ 165238 h 173458"/>
                <a:gd name="connsiteX21" fmla="*/ 124509 w 129516"/>
                <a:gd name="connsiteY21" fmla="*/ 172795 h 173458"/>
                <a:gd name="connsiteX22" fmla="*/ 121333 w 129516"/>
                <a:gd name="connsiteY22" fmla="*/ 173459 h 173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9516" h="173458" extrusionOk="0">
                  <a:moveTo>
                    <a:pt x="121333" y="173459"/>
                  </a:moveTo>
                  <a:cubicBezTo>
                    <a:pt x="119233" y="173459"/>
                    <a:pt x="117168" y="172651"/>
                    <a:pt x="115607" y="171143"/>
                  </a:cubicBezTo>
                  <a:lnTo>
                    <a:pt x="58046" y="115341"/>
                  </a:lnTo>
                  <a:cubicBezTo>
                    <a:pt x="54797" y="112183"/>
                    <a:pt x="54708" y="106995"/>
                    <a:pt x="57867" y="103729"/>
                  </a:cubicBezTo>
                  <a:cubicBezTo>
                    <a:pt x="61026" y="100480"/>
                    <a:pt x="66231" y="100390"/>
                    <a:pt x="69479" y="103549"/>
                  </a:cubicBezTo>
                  <a:lnTo>
                    <a:pt x="113094" y="145836"/>
                  </a:lnTo>
                  <a:lnTo>
                    <a:pt x="113094" y="86983"/>
                  </a:lnTo>
                  <a:lnTo>
                    <a:pt x="22652" y="25240"/>
                  </a:lnTo>
                  <a:cubicBezTo>
                    <a:pt x="22652" y="35291"/>
                    <a:pt x="21036" y="44589"/>
                    <a:pt x="17859" y="53491"/>
                  </a:cubicBezTo>
                  <a:lnTo>
                    <a:pt x="39882" y="74832"/>
                  </a:lnTo>
                  <a:cubicBezTo>
                    <a:pt x="43149" y="77991"/>
                    <a:pt x="43221" y="83178"/>
                    <a:pt x="40062" y="86444"/>
                  </a:cubicBezTo>
                  <a:cubicBezTo>
                    <a:pt x="36903" y="89711"/>
                    <a:pt x="31698" y="89783"/>
                    <a:pt x="28449" y="86624"/>
                  </a:cubicBezTo>
                  <a:lnTo>
                    <a:pt x="2496" y="61460"/>
                  </a:lnTo>
                  <a:cubicBezTo>
                    <a:pt x="37" y="59073"/>
                    <a:pt x="-681" y="55411"/>
                    <a:pt x="683" y="52271"/>
                  </a:cubicBezTo>
                  <a:cubicBezTo>
                    <a:pt x="4362" y="43853"/>
                    <a:pt x="6229" y="34932"/>
                    <a:pt x="6229" y="25796"/>
                  </a:cubicBezTo>
                  <a:cubicBezTo>
                    <a:pt x="6229" y="20717"/>
                    <a:pt x="5583" y="15458"/>
                    <a:pt x="4272" y="10145"/>
                  </a:cubicBezTo>
                  <a:cubicBezTo>
                    <a:pt x="3465" y="6843"/>
                    <a:pt x="4775" y="3379"/>
                    <a:pt x="7575" y="1458"/>
                  </a:cubicBezTo>
                  <a:cubicBezTo>
                    <a:pt x="10375" y="-480"/>
                    <a:pt x="14072" y="-480"/>
                    <a:pt x="16872" y="1422"/>
                  </a:cubicBezTo>
                  <a:lnTo>
                    <a:pt x="125927" y="75855"/>
                  </a:lnTo>
                  <a:cubicBezTo>
                    <a:pt x="128171" y="77380"/>
                    <a:pt x="129517" y="79929"/>
                    <a:pt x="129517" y="82639"/>
                  </a:cubicBezTo>
                  <a:lnTo>
                    <a:pt x="129517" y="165238"/>
                  </a:lnTo>
                  <a:cubicBezTo>
                    <a:pt x="129517" y="168541"/>
                    <a:pt x="127543" y="171520"/>
                    <a:pt x="124509" y="172795"/>
                  </a:cubicBezTo>
                  <a:cubicBezTo>
                    <a:pt x="123486" y="173243"/>
                    <a:pt x="122409" y="173459"/>
                    <a:pt x="121333" y="173459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46" name="Полилиния: фигура 597"/>
            <p:cNvSpPr/>
            <p:nvPr/>
          </p:nvSpPr>
          <p:spPr bwMode="auto">
            <a:xfrm>
              <a:off x="2230352" y="1323083"/>
              <a:ext cx="323019" cy="288324"/>
            </a:xfrm>
            <a:custGeom>
              <a:avLst/>
              <a:gdLst>
                <a:gd name="connsiteX0" fmla="*/ 282796 w 323019"/>
                <a:gd name="connsiteY0" fmla="*/ 288325 h 288324"/>
                <a:gd name="connsiteX1" fmla="*/ 40205 w 323019"/>
                <a:gd name="connsiteY1" fmla="*/ 288325 h 288324"/>
                <a:gd name="connsiteX2" fmla="*/ 0 w 323019"/>
                <a:gd name="connsiteY2" fmla="*/ 248120 h 288324"/>
                <a:gd name="connsiteX3" fmla="*/ 0 w 323019"/>
                <a:gd name="connsiteY3" fmla="*/ 65045 h 288324"/>
                <a:gd name="connsiteX4" fmla="*/ 40205 w 323019"/>
                <a:gd name="connsiteY4" fmla="*/ 24841 h 288324"/>
                <a:gd name="connsiteX5" fmla="*/ 46128 w 323019"/>
                <a:gd name="connsiteY5" fmla="*/ 24841 h 288324"/>
                <a:gd name="connsiteX6" fmla="*/ 46128 w 323019"/>
                <a:gd name="connsiteY6" fmla="*/ 8220 h 288324"/>
                <a:gd name="connsiteX7" fmla="*/ 54348 w 323019"/>
                <a:gd name="connsiteY7" fmla="*/ 0 h 288324"/>
                <a:gd name="connsiteX8" fmla="*/ 136947 w 323019"/>
                <a:gd name="connsiteY8" fmla="*/ 0 h 288324"/>
                <a:gd name="connsiteX9" fmla="*/ 145167 w 323019"/>
                <a:gd name="connsiteY9" fmla="*/ 8220 h 288324"/>
                <a:gd name="connsiteX10" fmla="*/ 145167 w 323019"/>
                <a:gd name="connsiteY10" fmla="*/ 24841 h 288324"/>
                <a:gd name="connsiteX11" fmla="*/ 282796 w 323019"/>
                <a:gd name="connsiteY11" fmla="*/ 24841 h 288324"/>
                <a:gd name="connsiteX12" fmla="*/ 323019 w 323019"/>
                <a:gd name="connsiteY12" fmla="*/ 65045 h 288324"/>
                <a:gd name="connsiteX13" fmla="*/ 323019 w 323019"/>
                <a:gd name="connsiteY13" fmla="*/ 248102 h 288324"/>
                <a:gd name="connsiteX14" fmla="*/ 282796 w 323019"/>
                <a:gd name="connsiteY14" fmla="*/ 288325 h 288324"/>
                <a:gd name="connsiteX15" fmla="*/ 40205 w 323019"/>
                <a:gd name="connsiteY15" fmla="*/ 41264 h 288324"/>
                <a:gd name="connsiteX16" fmla="*/ 16423 w 323019"/>
                <a:gd name="connsiteY16" fmla="*/ 65045 h 288324"/>
                <a:gd name="connsiteX17" fmla="*/ 16423 w 323019"/>
                <a:gd name="connsiteY17" fmla="*/ 248102 h 288324"/>
                <a:gd name="connsiteX18" fmla="*/ 40205 w 323019"/>
                <a:gd name="connsiteY18" fmla="*/ 271884 h 288324"/>
                <a:gd name="connsiteX19" fmla="*/ 282796 w 323019"/>
                <a:gd name="connsiteY19" fmla="*/ 271884 h 288324"/>
                <a:gd name="connsiteX20" fmla="*/ 306578 w 323019"/>
                <a:gd name="connsiteY20" fmla="*/ 248102 h 288324"/>
                <a:gd name="connsiteX21" fmla="*/ 306578 w 323019"/>
                <a:gd name="connsiteY21" fmla="*/ 65045 h 288324"/>
                <a:gd name="connsiteX22" fmla="*/ 282796 w 323019"/>
                <a:gd name="connsiteY22" fmla="*/ 41264 h 288324"/>
                <a:gd name="connsiteX23" fmla="*/ 136947 w 323019"/>
                <a:gd name="connsiteY23" fmla="*/ 41264 h 288324"/>
                <a:gd name="connsiteX24" fmla="*/ 128727 w 323019"/>
                <a:gd name="connsiteY24" fmla="*/ 33043 h 288324"/>
                <a:gd name="connsiteX25" fmla="*/ 128727 w 323019"/>
                <a:gd name="connsiteY25" fmla="*/ 16423 h 288324"/>
                <a:gd name="connsiteX26" fmla="*/ 62551 w 323019"/>
                <a:gd name="connsiteY26" fmla="*/ 16423 h 288324"/>
                <a:gd name="connsiteX27" fmla="*/ 62551 w 323019"/>
                <a:gd name="connsiteY27" fmla="*/ 33043 h 288324"/>
                <a:gd name="connsiteX28" fmla="*/ 54330 w 323019"/>
                <a:gd name="connsiteY28" fmla="*/ 41264 h 288324"/>
                <a:gd name="connsiteX29" fmla="*/ 40205 w 323019"/>
                <a:gd name="connsiteY29" fmla="*/ 41264 h 288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23019" h="288324" extrusionOk="0">
                  <a:moveTo>
                    <a:pt x="282796" y="288325"/>
                  </a:moveTo>
                  <a:lnTo>
                    <a:pt x="40205" y="288325"/>
                  </a:lnTo>
                  <a:cubicBezTo>
                    <a:pt x="18038" y="288325"/>
                    <a:pt x="0" y="270286"/>
                    <a:pt x="0" y="248120"/>
                  </a:cubicBezTo>
                  <a:lnTo>
                    <a:pt x="0" y="65045"/>
                  </a:lnTo>
                  <a:cubicBezTo>
                    <a:pt x="0" y="42879"/>
                    <a:pt x="18038" y="24841"/>
                    <a:pt x="40205" y="24841"/>
                  </a:cubicBezTo>
                  <a:lnTo>
                    <a:pt x="46128" y="24841"/>
                  </a:lnTo>
                  <a:lnTo>
                    <a:pt x="46128" y="8220"/>
                  </a:lnTo>
                  <a:cubicBezTo>
                    <a:pt x="46128" y="3679"/>
                    <a:pt x="49807" y="0"/>
                    <a:pt x="54348" y="0"/>
                  </a:cubicBezTo>
                  <a:lnTo>
                    <a:pt x="136947" y="0"/>
                  </a:lnTo>
                  <a:cubicBezTo>
                    <a:pt x="141488" y="0"/>
                    <a:pt x="145167" y="3679"/>
                    <a:pt x="145167" y="8220"/>
                  </a:cubicBezTo>
                  <a:lnTo>
                    <a:pt x="145167" y="24841"/>
                  </a:lnTo>
                  <a:lnTo>
                    <a:pt x="282796" y="24841"/>
                  </a:lnTo>
                  <a:cubicBezTo>
                    <a:pt x="304981" y="24841"/>
                    <a:pt x="323019" y="42879"/>
                    <a:pt x="323019" y="65045"/>
                  </a:cubicBezTo>
                  <a:lnTo>
                    <a:pt x="323019" y="248102"/>
                  </a:lnTo>
                  <a:cubicBezTo>
                    <a:pt x="323019" y="270286"/>
                    <a:pt x="304981" y="288325"/>
                    <a:pt x="282796" y="288325"/>
                  </a:cubicBezTo>
                  <a:close/>
                  <a:moveTo>
                    <a:pt x="40205" y="41264"/>
                  </a:moveTo>
                  <a:cubicBezTo>
                    <a:pt x="27084" y="41264"/>
                    <a:pt x="16423" y="51925"/>
                    <a:pt x="16423" y="65045"/>
                  </a:cubicBezTo>
                  <a:lnTo>
                    <a:pt x="16423" y="248102"/>
                  </a:lnTo>
                  <a:cubicBezTo>
                    <a:pt x="16423" y="261222"/>
                    <a:pt x="27084" y="271884"/>
                    <a:pt x="40205" y="271884"/>
                  </a:cubicBezTo>
                  <a:lnTo>
                    <a:pt x="282796" y="271884"/>
                  </a:lnTo>
                  <a:cubicBezTo>
                    <a:pt x="295917" y="271884"/>
                    <a:pt x="306578" y="261222"/>
                    <a:pt x="306578" y="248102"/>
                  </a:cubicBezTo>
                  <a:lnTo>
                    <a:pt x="306578" y="65045"/>
                  </a:lnTo>
                  <a:cubicBezTo>
                    <a:pt x="306578" y="51925"/>
                    <a:pt x="295899" y="41264"/>
                    <a:pt x="282796" y="41264"/>
                  </a:cubicBezTo>
                  <a:lnTo>
                    <a:pt x="136947" y="41264"/>
                  </a:lnTo>
                  <a:cubicBezTo>
                    <a:pt x="132406" y="41264"/>
                    <a:pt x="128727" y="37584"/>
                    <a:pt x="128727" y="33043"/>
                  </a:cubicBezTo>
                  <a:lnTo>
                    <a:pt x="128727" y="16423"/>
                  </a:lnTo>
                  <a:lnTo>
                    <a:pt x="62551" y="16423"/>
                  </a:lnTo>
                  <a:lnTo>
                    <a:pt x="62551" y="33043"/>
                  </a:lnTo>
                  <a:cubicBezTo>
                    <a:pt x="62551" y="37584"/>
                    <a:pt x="58871" y="41264"/>
                    <a:pt x="54330" y="41264"/>
                  </a:cubicBezTo>
                  <a:lnTo>
                    <a:pt x="40205" y="41264"/>
                  </a:ln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47" name="Полилиния: фигура 598"/>
            <p:cNvSpPr/>
            <p:nvPr/>
          </p:nvSpPr>
          <p:spPr bwMode="auto">
            <a:xfrm>
              <a:off x="2269549" y="1299302"/>
              <a:ext cx="112900" cy="40204"/>
            </a:xfrm>
            <a:custGeom>
              <a:avLst/>
              <a:gdLst>
                <a:gd name="connsiteX0" fmla="*/ 97750 w 112900"/>
                <a:gd name="connsiteY0" fmla="*/ 40205 h 40204"/>
                <a:gd name="connsiteX1" fmla="*/ 15151 w 112900"/>
                <a:gd name="connsiteY1" fmla="*/ 40205 h 40204"/>
                <a:gd name="connsiteX2" fmla="*/ 7271 w 112900"/>
                <a:gd name="connsiteY2" fmla="*/ 34300 h 40204"/>
                <a:gd name="connsiteX3" fmla="*/ 325 w 112900"/>
                <a:gd name="connsiteY3" fmla="*/ 10518 h 40204"/>
                <a:gd name="connsiteX4" fmla="*/ 1636 w 112900"/>
                <a:gd name="connsiteY4" fmla="*/ 3285 h 40204"/>
                <a:gd name="connsiteX5" fmla="*/ 8205 w 112900"/>
                <a:gd name="connsiteY5" fmla="*/ 0 h 40204"/>
                <a:gd name="connsiteX6" fmla="*/ 104696 w 112900"/>
                <a:gd name="connsiteY6" fmla="*/ 0 h 40204"/>
                <a:gd name="connsiteX7" fmla="*/ 111265 w 112900"/>
                <a:gd name="connsiteY7" fmla="*/ 3285 h 40204"/>
                <a:gd name="connsiteX8" fmla="*/ 112575 w 112900"/>
                <a:gd name="connsiteY8" fmla="*/ 10518 h 40204"/>
                <a:gd name="connsiteX9" fmla="*/ 105629 w 112900"/>
                <a:gd name="connsiteY9" fmla="*/ 34300 h 40204"/>
                <a:gd name="connsiteX10" fmla="*/ 97750 w 112900"/>
                <a:gd name="connsiteY10" fmla="*/ 40205 h 40204"/>
                <a:gd name="connsiteX11" fmla="*/ 21307 w 112900"/>
                <a:gd name="connsiteY11" fmla="*/ 23782 h 40204"/>
                <a:gd name="connsiteX12" fmla="*/ 91593 w 112900"/>
                <a:gd name="connsiteY12" fmla="*/ 23782 h 40204"/>
                <a:gd name="connsiteX13" fmla="*/ 93747 w 112900"/>
                <a:gd name="connsiteY13" fmla="*/ 16423 h 40204"/>
                <a:gd name="connsiteX14" fmla="*/ 19171 w 112900"/>
                <a:gd name="connsiteY14" fmla="*/ 16423 h 40204"/>
                <a:gd name="connsiteX15" fmla="*/ 21307 w 112900"/>
                <a:gd name="connsiteY15" fmla="*/ 23782 h 40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2900" h="40204" extrusionOk="0">
                  <a:moveTo>
                    <a:pt x="97750" y="40205"/>
                  </a:moveTo>
                  <a:lnTo>
                    <a:pt x="15151" y="40205"/>
                  </a:lnTo>
                  <a:cubicBezTo>
                    <a:pt x="11507" y="40205"/>
                    <a:pt x="8295" y="37800"/>
                    <a:pt x="7271" y="34300"/>
                  </a:cubicBezTo>
                  <a:lnTo>
                    <a:pt x="325" y="10518"/>
                  </a:lnTo>
                  <a:cubicBezTo>
                    <a:pt x="-393" y="8041"/>
                    <a:pt x="92" y="5349"/>
                    <a:pt x="1636" y="3285"/>
                  </a:cubicBezTo>
                  <a:cubicBezTo>
                    <a:pt x="3179" y="1220"/>
                    <a:pt x="5620" y="0"/>
                    <a:pt x="8205" y="0"/>
                  </a:cubicBezTo>
                  <a:lnTo>
                    <a:pt x="104696" y="0"/>
                  </a:lnTo>
                  <a:cubicBezTo>
                    <a:pt x="107281" y="0"/>
                    <a:pt x="109722" y="1220"/>
                    <a:pt x="111265" y="3285"/>
                  </a:cubicBezTo>
                  <a:cubicBezTo>
                    <a:pt x="112809" y="5349"/>
                    <a:pt x="113293" y="8041"/>
                    <a:pt x="112575" y="10518"/>
                  </a:cubicBezTo>
                  <a:lnTo>
                    <a:pt x="105629" y="34300"/>
                  </a:lnTo>
                  <a:cubicBezTo>
                    <a:pt x="104624" y="37800"/>
                    <a:pt x="101411" y="40205"/>
                    <a:pt x="97750" y="40205"/>
                  </a:cubicBezTo>
                  <a:close/>
                  <a:moveTo>
                    <a:pt x="21307" y="23782"/>
                  </a:moveTo>
                  <a:lnTo>
                    <a:pt x="91593" y="23782"/>
                  </a:lnTo>
                  <a:lnTo>
                    <a:pt x="93747" y="16423"/>
                  </a:lnTo>
                  <a:lnTo>
                    <a:pt x="19171" y="16423"/>
                  </a:lnTo>
                  <a:lnTo>
                    <a:pt x="21307" y="23782"/>
                  </a:ln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48" name="Полилиния: фигура 599"/>
            <p:cNvSpPr/>
            <p:nvPr/>
          </p:nvSpPr>
          <p:spPr bwMode="auto">
            <a:xfrm>
              <a:off x="2303259" y="1347906"/>
              <a:ext cx="72259" cy="16440"/>
            </a:xfrm>
            <a:custGeom>
              <a:avLst/>
              <a:gdLst>
                <a:gd name="connsiteX0" fmla="*/ 64040 w 72260"/>
                <a:gd name="connsiteY0" fmla="*/ 16441 h 16440"/>
                <a:gd name="connsiteX1" fmla="*/ 8221 w 72260"/>
                <a:gd name="connsiteY1" fmla="*/ 16441 h 16440"/>
                <a:gd name="connsiteX2" fmla="*/ 0 w 72260"/>
                <a:gd name="connsiteY2" fmla="*/ 8220 h 16440"/>
                <a:gd name="connsiteX3" fmla="*/ 8221 w 72260"/>
                <a:gd name="connsiteY3" fmla="*/ 0 h 16440"/>
                <a:gd name="connsiteX4" fmla="*/ 64040 w 72260"/>
                <a:gd name="connsiteY4" fmla="*/ 0 h 16440"/>
                <a:gd name="connsiteX5" fmla="*/ 72261 w 72260"/>
                <a:gd name="connsiteY5" fmla="*/ 8220 h 16440"/>
                <a:gd name="connsiteX6" fmla="*/ 64040 w 72260"/>
                <a:gd name="connsiteY6" fmla="*/ 16441 h 16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2260" h="16440" extrusionOk="0">
                  <a:moveTo>
                    <a:pt x="64040" y="16441"/>
                  </a:moveTo>
                  <a:lnTo>
                    <a:pt x="8221" y="16441"/>
                  </a:lnTo>
                  <a:cubicBezTo>
                    <a:pt x="3680" y="16441"/>
                    <a:pt x="0" y="12761"/>
                    <a:pt x="0" y="8220"/>
                  </a:cubicBezTo>
                  <a:cubicBezTo>
                    <a:pt x="0" y="3679"/>
                    <a:pt x="3680" y="0"/>
                    <a:pt x="8221" y="0"/>
                  </a:cubicBezTo>
                  <a:lnTo>
                    <a:pt x="64040" y="0"/>
                  </a:lnTo>
                  <a:cubicBezTo>
                    <a:pt x="68581" y="0"/>
                    <a:pt x="72261" y="3679"/>
                    <a:pt x="72261" y="8220"/>
                  </a:cubicBezTo>
                  <a:cubicBezTo>
                    <a:pt x="72261" y="12761"/>
                    <a:pt x="68581" y="16441"/>
                    <a:pt x="64040" y="16441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50" name="Рисунок 2"/>
          <p:cNvGrpSpPr/>
          <p:nvPr/>
        </p:nvGrpSpPr>
        <p:grpSpPr bwMode="auto">
          <a:xfrm rot="13704372" flipV="1">
            <a:off x="9285358" y="3037464"/>
            <a:ext cx="779708" cy="478480"/>
            <a:chOff x="9275232" y="3269054"/>
            <a:chExt cx="291589" cy="137112"/>
          </a:xfrm>
          <a:solidFill>
            <a:schemeClr val="accent3"/>
          </a:solidFill>
        </p:grpSpPr>
        <p:sp>
          <p:nvSpPr>
            <p:cNvPr id="164" name="Полилиния: фигура 469"/>
            <p:cNvSpPr/>
            <p:nvPr/>
          </p:nvSpPr>
          <p:spPr bwMode="auto">
            <a:xfrm>
              <a:off x="9466743" y="3269054"/>
              <a:ext cx="100078" cy="137112"/>
            </a:xfrm>
            <a:custGeom>
              <a:avLst/>
              <a:gdLst>
                <a:gd name="connsiteX0" fmla="*/ 8210 w 100078"/>
                <a:gd name="connsiteY0" fmla="*/ 137112 h 137112"/>
                <a:gd name="connsiteX1" fmla="*/ 3544 w 100078"/>
                <a:gd name="connsiteY1" fmla="*/ 135641 h 137112"/>
                <a:gd name="connsiteX2" fmla="*/ 1462 w 100078"/>
                <a:gd name="connsiteY2" fmla="*/ 124207 h 137112"/>
                <a:gd name="connsiteX3" fmla="*/ 85102 w 100078"/>
                <a:gd name="connsiteY3" fmla="*/ 3540 h 137112"/>
                <a:gd name="connsiteX4" fmla="*/ 96535 w 100078"/>
                <a:gd name="connsiteY4" fmla="*/ 1476 h 137112"/>
                <a:gd name="connsiteX5" fmla="*/ 98617 w 100078"/>
                <a:gd name="connsiteY5" fmla="*/ 12909 h 137112"/>
                <a:gd name="connsiteX6" fmla="*/ 14977 w 100078"/>
                <a:gd name="connsiteY6" fmla="*/ 133576 h 137112"/>
                <a:gd name="connsiteX7" fmla="*/ 8210 w 100078"/>
                <a:gd name="connsiteY7" fmla="*/ 137112 h 137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078" h="137112" extrusionOk="0">
                  <a:moveTo>
                    <a:pt x="8210" y="137112"/>
                  </a:moveTo>
                  <a:cubicBezTo>
                    <a:pt x="6595" y="137112"/>
                    <a:pt x="4962" y="136646"/>
                    <a:pt x="3544" y="135641"/>
                  </a:cubicBezTo>
                  <a:cubicBezTo>
                    <a:pt x="-189" y="133056"/>
                    <a:pt x="-1123" y="127941"/>
                    <a:pt x="1462" y="124207"/>
                  </a:cubicBezTo>
                  <a:lnTo>
                    <a:pt x="85102" y="3540"/>
                  </a:lnTo>
                  <a:cubicBezTo>
                    <a:pt x="87668" y="-194"/>
                    <a:pt x="92802" y="-1127"/>
                    <a:pt x="96535" y="1476"/>
                  </a:cubicBezTo>
                  <a:cubicBezTo>
                    <a:pt x="100268" y="4060"/>
                    <a:pt x="101201" y="9176"/>
                    <a:pt x="98617" y="12909"/>
                  </a:cubicBezTo>
                  <a:lnTo>
                    <a:pt x="14977" y="133576"/>
                  </a:lnTo>
                  <a:cubicBezTo>
                    <a:pt x="13380" y="135874"/>
                    <a:pt x="10813" y="137112"/>
                    <a:pt x="8210" y="137112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65" name="Полилиния: фигура 470"/>
            <p:cNvSpPr/>
            <p:nvPr/>
          </p:nvSpPr>
          <p:spPr bwMode="auto">
            <a:xfrm>
              <a:off x="9393387" y="3269054"/>
              <a:ext cx="100079" cy="137112"/>
            </a:xfrm>
            <a:custGeom>
              <a:avLst/>
              <a:gdLst>
                <a:gd name="connsiteX0" fmla="*/ 8211 w 100079"/>
                <a:gd name="connsiteY0" fmla="*/ 137112 h 137112"/>
                <a:gd name="connsiteX1" fmla="*/ 3544 w 100079"/>
                <a:gd name="connsiteY1" fmla="*/ 135641 h 137112"/>
                <a:gd name="connsiteX2" fmla="*/ 1462 w 100079"/>
                <a:gd name="connsiteY2" fmla="*/ 124207 h 137112"/>
                <a:gd name="connsiteX3" fmla="*/ 85102 w 100079"/>
                <a:gd name="connsiteY3" fmla="*/ 3540 h 137112"/>
                <a:gd name="connsiteX4" fmla="*/ 96535 w 100079"/>
                <a:gd name="connsiteY4" fmla="*/ 1476 h 137112"/>
                <a:gd name="connsiteX5" fmla="*/ 98617 w 100079"/>
                <a:gd name="connsiteY5" fmla="*/ 12909 h 137112"/>
                <a:gd name="connsiteX6" fmla="*/ 14978 w 100079"/>
                <a:gd name="connsiteY6" fmla="*/ 133576 h 137112"/>
                <a:gd name="connsiteX7" fmla="*/ 8211 w 100079"/>
                <a:gd name="connsiteY7" fmla="*/ 137112 h 137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079" h="137112" extrusionOk="0">
                  <a:moveTo>
                    <a:pt x="8211" y="137112"/>
                  </a:moveTo>
                  <a:cubicBezTo>
                    <a:pt x="6595" y="137112"/>
                    <a:pt x="4962" y="136646"/>
                    <a:pt x="3544" y="135641"/>
                  </a:cubicBezTo>
                  <a:cubicBezTo>
                    <a:pt x="-189" y="133056"/>
                    <a:pt x="-1123" y="127941"/>
                    <a:pt x="1462" y="124207"/>
                  </a:cubicBezTo>
                  <a:lnTo>
                    <a:pt x="85102" y="3540"/>
                  </a:lnTo>
                  <a:cubicBezTo>
                    <a:pt x="87669" y="-194"/>
                    <a:pt x="92802" y="-1127"/>
                    <a:pt x="96535" y="1476"/>
                  </a:cubicBezTo>
                  <a:cubicBezTo>
                    <a:pt x="100269" y="4060"/>
                    <a:pt x="101202" y="9176"/>
                    <a:pt x="98617" y="12909"/>
                  </a:cubicBezTo>
                  <a:lnTo>
                    <a:pt x="14978" y="133576"/>
                  </a:lnTo>
                  <a:cubicBezTo>
                    <a:pt x="13380" y="135874"/>
                    <a:pt x="10813" y="137112"/>
                    <a:pt x="8211" y="137112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66" name="Полилиния: фигура 471"/>
            <p:cNvSpPr/>
            <p:nvPr/>
          </p:nvSpPr>
          <p:spPr bwMode="auto">
            <a:xfrm>
              <a:off x="9320032" y="3269054"/>
              <a:ext cx="100079" cy="137112"/>
            </a:xfrm>
            <a:custGeom>
              <a:avLst/>
              <a:gdLst>
                <a:gd name="connsiteX0" fmla="*/ 8211 w 100079"/>
                <a:gd name="connsiteY0" fmla="*/ 137112 h 137112"/>
                <a:gd name="connsiteX1" fmla="*/ 3544 w 100079"/>
                <a:gd name="connsiteY1" fmla="*/ 135641 h 137112"/>
                <a:gd name="connsiteX2" fmla="*/ 1462 w 100079"/>
                <a:gd name="connsiteY2" fmla="*/ 124207 h 137112"/>
                <a:gd name="connsiteX3" fmla="*/ 85102 w 100079"/>
                <a:gd name="connsiteY3" fmla="*/ 3540 h 137112"/>
                <a:gd name="connsiteX4" fmla="*/ 96535 w 100079"/>
                <a:gd name="connsiteY4" fmla="*/ 1476 h 137112"/>
                <a:gd name="connsiteX5" fmla="*/ 98618 w 100079"/>
                <a:gd name="connsiteY5" fmla="*/ 12909 h 137112"/>
                <a:gd name="connsiteX6" fmla="*/ 14978 w 100079"/>
                <a:gd name="connsiteY6" fmla="*/ 133576 h 137112"/>
                <a:gd name="connsiteX7" fmla="*/ 8211 w 100079"/>
                <a:gd name="connsiteY7" fmla="*/ 137112 h 137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079" h="137112" extrusionOk="0">
                  <a:moveTo>
                    <a:pt x="8211" y="137112"/>
                  </a:moveTo>
                  <a:cubicBezTo>
                    <a:pt x="6596" y="137112"/>
                    <a:pt x="4962" y="136646"/>
                    <a:pt x="3544" y="135641"/>
                  </a:cubicBezTo>
                  <a:cubicBezTo>
                    <a:pt x="-189" y="133056"/>
                    <a:pt x="-1123" y="127941"/>
                    <a:pt x="1462" y="124207"/>
                  </a:cubicBezTo>
                  <a:lnTo>
                    <a:pt x="85102" y="3540"/>
                  </a:lnTo>
                  <a:cubicBezTo>
                    <a:pt x="87686" y="-194"/>
                    <a:pt x="92802" y="-1127"/>
                    <a:pt x="96535" y="1476"/>
                  </a:cubicBezTo>
                  <a:cubicBezTo>
                    <a:pt x="100269" y="4060"/>
                    <a:pt x="101202" y="9176"/>
                    <a:pt x="98618" y="12909"/>
                  </a:cubicBezTo>
                  <a:lnTo>
                    <a:pt x="14978" y="133576"/>
                  </a:lnTo>
                  <a:cubicBezTo>
                    <a:pt x="13380" y="135874"/>
                    <a:pt x="10814" y="137112"/>
                    <a:pt x="8211" y="137112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67" name="Полилиния: фигура 472"/>
            <p:cNvSpPr/>
            <p:nvPr/>
          </p:nvSpPr>
          <p:spPr bwMode="auto">
            <a:xfrm>
              <a:off x="9275232" y="3269072"/>
              <a:ext cx="71523" cy="95884"/>
            </a:xfrm>
            <a:custGeom>
              <a:avLst/>
              <a:gdLst>
                <a:gd name="connsiteX0" fmla="*/ 8211 w 71523"/>
                <a:gd name="connsiteY0" fmla="*/ 95885 h 95884"/>
                <a:gd name="connsiteX1" fmla="*/ 3544 w 71523"/>
                <a:gd name="connsiteY1" fmla="*/ 94413 h 95884"/>
                <a:gd name="connsiteX2" fmla="*/ 1462 w 71523"/>
                <a:gd name="connsiteY2" fmla="*/ 82980 h 95884"/>
                <a:gd name="connsiteX3" fmla="*/ 56546 w 71523"/>
                <a:gd name="connsiteY3" fmla="*/ 3540 h 95884"/>
                <a:gd name="connsiteX4" fmla="*/ 67979 w 71523"/>
                <a:gd name="connsiteY4" fmla="*/ 1476 h 95884"/>
                <a:gd name="connsiteX5" fmla="*/ 70061 w 71523"/>
                <a:gd name="connsiteY5" fmla="*/ 12909 h 95884"/>
                <a:gd name="connsiteX6" fmla="*/ 14978 w 71523"/>
                <a:gd name="connsiteY6" fmla="*/ 92349 h 95884"/>
                <a:gd name="connsiteX7" fmla="*/ 8211 w 71523"/>
                <a:gd name="connsiteY7" fmla="*/ 95885 h 95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1523" h="95884" extrusionOk="0">
                  <a:moveTo>
                    <a:pt x="8211" y="95885"/>
                  </a:moveTo>
                  <a:cubicBezTo>
                    <a:pt x="6596" y="95885"/>
                    <a:pt x="4962" y="95418"/>
                    <a:pt x="3544" y="94413"/>
                  </a:cubicBezTo>
                  <a:cubicBezTo>
                    <a:pt x="-189" y="91828"/>
                    <a:pt x="-1123" y="86713"/>
                    <a:pt x="1462" y="82980"/>
                  </a:cubicBezTo>
                  <a:lnTo>
                    <a:pt x="56546" y="3540"/>
                  </a:lnTo>
                  <a:cubicBezTo>
                    <a:pt x="59131" y="-194"/>
                    <a:pt x="64246" y="-1127"/>
                    <a:pt x="67979" y="1476"/>
                  </a:cubicBezTo>
                  <a:cubicBezTo>
                    <a:pt x="71712" y="4060"/>
                    <a:pt x="72646" y="9176"/>
                    <a:pt x="70061" y="12909"/>
                  </a:cubicBezTo>
                  <a:lnTo>
                    <a:pt x="14978" y="92349"/>
                  </a:lnTo>
                  <a:cubicBezTo>
                    <a:pt x="13380" y="94646"/>
                    <a:pt x="10813" y="95885"/>
                    <a:pt x="8211" y="95885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</p:grpSp>
      <p:pic>
        <p:nvPicPr>
          <p:cNvPr id="53" name="Рисунок 52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10361110" y="276377"/>
            <a:ext cx="1536950" cy="447523"/>
          </a:xfrm>
          <a:prstGeom prst="rect">
            <a:avLst/>
          </a:prstGeom>
        </p:spPr>
      </p:pic>
      <p:sp>
        <p:nvSpPr>
          <p:cNvPr id="54" name="Прямоугольник 53"/>
          <p:cNvSpPr/>
          <p:nvPr/>
        </p:nvSpPr>
        <p:spPr bwMode="auto">
          <a:xfrm>
            <a:off x="1536491" y="5373691"/>
            <a:ext cx="6787756" cy="923330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>
              <a:defRPr/>
            </a:pPr>
            <a:r>
              <a:rPr lang="ru-RU" sz="1800" b="1">
                <a:solidFill>
                  <a:srgbClr val="000000"/>
                </a:solidFill>
                <a:latin typeface="Proxima Nova Rg"/>
              </a:rPr>
              <a:t>Повышение лояльности клиентов</a:t>
            </a:r>
            <a:r>
              <a:rPr lang="ru-RU" sz="1800">
                <a:solidFill>
                  <a:srgbClr val="000000"/>
                </a:solidFill>
                <a:latin typeface="Proxima Nova Rg"/>
              </a:rPr>
              <a:t> и</a:t>
            </a:r>
            <a:br>
              <a:rPr lang="ru-RU" sz="1800">
                <a:solidFill>
                  <a:srgbClr val="000000"/>
                </a:solidFill>
                <a:latin typeface="Proxima Nova Rg"/>
              </a:rPr>
            </a:br>
            <a:r>
              <a:rPr lang="ru-RU" sz="1800">
                <a:solidFill>
                  <a:srgbClr val="000000"/>
                </a:solidFill>
                <a:latin typeface="Proxima Nova Rg"/>
              </a:rPr>
              <a:t>продвижение бренда Банка</a:t>
            </a:r>
            <a:br>
              <a:rPr lang="ru-RU" sz="1800">
                <a:solidFill>
                  <a:srgbClr val="000000"/>
                </a:solidFill>
                <a:latin typeface="Proxima Nova Rg"/>
              </a:rPr>
            </a:br>
            <a:r>
              <a:rPr lang="ru-RU" sz="1800">
                <a:solidFill>
                  <a:srgbClr val="000000"/>
                </a:solidFill>
                <a:latin typeface="Proxima Nova Rg"/>
              </a:rPr>
              <a:t>«Свой Банк для фермеров» </a:t>
            </a:r>
            <a:endParaRPr/>
          </a:p>
        </p:txBody>
      </p:sp>
      <p:grpSp>
        <p:nvGrpSpPr>
          <p:cNvPr id="55" name="Group 438"/>
          <p:cNvGrpSpPr/>
          <p:nvPr/>
        </p:nvGrpSpPr>
        <p:grpSpPr bwMode="auto">
          <a:xfrm>
            <a:off x="772046" y="1632480"/>
            <a:ext cx="485797" cy="464484"/>
            <a:chOff x="814388" y="4854575"/>
            <a:chExt cx="506413" cy="484188"/>
          </a:xfrm>
          <a:solidFill>
            <a:schemeClr val="tx1"/>
          </a:solidFill>
        </p:grpSpPr>
        <p:sp>
          <p:nvSpPr>
            <p:cNvPr id="56" name="Freeform 58"/>
            <p:cNvSpPr/>
            <p:nvPr/>
          </p:nvSpPr>
          <p:spPr bwMode="auto">
            <a:xfrm>
              <a:off x="814388" y="5318125"/>
              <a:ext cx="20638" cy="20638"/>
            </a:xfrm>
            <a:custGeom>
              <a:avLst/>
              <a:gdLst>
                <a:gd name="T0" fmla="*/ 169 w 336"/>
                <a:gd name="T1" fmla="*/ 0 h 333"/>
                <a:gd name="T2" fmla="*/ 167 w 336"/>
                <a:gd name="T3" fmla="*/ 0 h 333"/>
                <a:gd name="T4" fmla="*/ 0 w 336"/>
                <a:gd name="T5" fmla="*/ 167 h 333"/>
                <a:gd name="T6" fmla="*/ 167 w 336"/>
                <a:gd name="T7" fmla="*/ 333 h 333"/>
                <a:gd name="T8" fmla="*/ 169 w 336"/>
                <a:gd name="T9" fmla="*/ 333 h 333"/>
                <a:gd name="T10" fmla="*/ 336 w 336"/>
                <a:gd name="T11" fmla="*/ 167 h 333"/>
                <a:gd name="T12" fmla="*/ 169 w 336"/>
                <a:gd name="T13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6" h="333" extrusionOk="0">
                  <a:moveTo>
                    <a:pt x="169" y="0"/>
                  </a:moveTo>
                  <a:lnTo>
                    <a:pt x="167" y="0"/>
                  </a:lnTo>
                  <a:cubicBezTo>
                    <a:pt x="75" y="0"/>
                    <a:pt x="0" y="75"/>
                    <a:pt x="0" y="167"/>
                  </a:cubicBezTo>
                  <a:cubicBezTo>
                    <a:pt x="0" y="259"/>
                    <a:pt x="75" y="333"/>
                    <a:pt x="167" y="333"/>
                  </a:cubicBezTo>
                  <a:lnTo>
                    <a:pt x="169" y="333"/>
                  </a:lnTo>
                  <a:cubicBezTo>
                    <a:pt x="261" y="333"/>
                    <a:pt x="336" y="259"/>
                    <a:pt x="336" y="167"/>
                  </a:cubicBezTo>
                  <a:cubicBezTo>
                    <a:pt x="336" y="75"/>
                    <a:pt x="261" y="0"/>
                    <a:pt x="169" y="0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57" name="Freeform 59"/>
            <p:cNvSpPr>
              <a:spLocks noEditPoints="1"/>
            </p:cNvSpPr>
            <p:nvPr/>
          </p:nvSpPr>
          <p:spPr bwMode="auto">
            <a:xfrm>
              <a:off x="814388" y="4854575"/>
              <a:ext cx="506413" cy="484188"/>
            </a:xfrm>
            <a:custGeom>
              <a:avLst/>
              <a:gdLst>
                <a:gd name="T0" fmla="*/ 1367 w 8533"/>
                <a:gd name="T1" fmla="*/ 6167 h 8133"/>
                <a:gd name="T2" fmla="*/ 3100 w 8533"/>
                <a:gd name="T3" fmla="*/ 6346 h 8133"/>
                <a:gd name="T4" fmla="*/ 3549 w 8533"/>
                <a:gd name="T5" fmla="*/ 7800 h 8133"/>
                <a:gd name="T6" fmla="*/ 4777 w 8533"/>
                <a:gd name="T7" fmla="*/ 5547 h 8133"/>
                <a:gd name="T8" fmla="*/ 5536 w 8533"/>
                <a:gd name="T9" fmla="*/ 6203 h 8133"/>
                <a:gd name="T10" fmla="*/ 6458 w 8533"/>
                <a:gd name="T11" fmla="*/ 5520 h 8133"/>
                <a:gd name="T12" fmla="*/ 7417 w 8533"/>
                <a:gd name="T13" fmla="*/ 5812 h 8133"/>
                <a:gd name="T14" fmla="*/ 7222 w 8533"/>
                <a:gd name="T15" fmla="*/ 6627 h 8133"/>
                <a:gd name="T16" fmla="*/ 6888 w 8533"/>
                <a:gd name="T17" fmla="*/ 7800 h 8133"/>
                <a:gd name="T18" fmla="*/ 4244 w 8533"/>
                <a:gd name="T19" fmla="*/ 6461 h 8133"/>
                <a:gd name="T20" fmla="*/ 3883 w 8533"/>
                <a:gd name="T21" fmla="*/ 7800 h 8133"/>
                <a:gd name="T22" fmla="*/ 5234 w 8533"/>
                <a:gd name="T23" fmla="*/ 5019 h 8133"/>
                <a:gd name="T24" fmla="*/ 6224 w 8533"/>
                <a:gd name="T25" fmla="*/ 4930 h 8133"/>
                <a:gd name="T26" fmla="*/ 6223 w 8533"/>
                <a:gd name="T27" fmla="*/ 5160 h 8133"/>
                <a:gd name="T28" fmla="*/ 5653 w 8533"/>
                <a:gd name="T29" fmla="*/ 5850 h 8133"/>
                <a:gd name="T30" fmla="*/ 5234 w 8533"/>
                <a:gd name="T31" fmla="*/ 5019 h 8133"/>
                <a:gd name="T32" fmla="*/ 3953 w 8533"/>
                <a:gd name="T33" fmla="*/ 3178 h 8133"/>
                <a:gd name="T34" fmla="*/ 4119 w 8533"/>
                <a:gd name="T35" fmla="*/ 2508 h 8133"/>
                <a:gd name="T36" fmla="*/ 7182 w 8533"/>
                <a:gd name="T37" fmla="*/ 2393 h 8133"/>
                <a:gd name="T38" fmla="*/ 7604 w 8533"/>
                <a:gd name="T39" fmla="*/ 2922 h 8133"/>
                <a:gd name="T40" fmla="*/ 7182 w 8533"/>
                <a:gd name="T41" fmla="*/ 3654 h 8133"/>
                <a:gd name="T42" fmla="*/ 5889 w 8533"/>
                <a:gd name="T43" fmla="*/ 4738 h 8133"/>
                <a:gd name="T44" fmla="*/ 4387 w 8533"/>
                <a:gd name="T45" fmla="*/ 4151 h 8133"/>
                <a:gd name="T46" fmla="*/ 5612 w 8533"/>
                <a:gd name="T47" fmla="*/ 1342 h 8133"/>
                <a:gd name="T48" fmla="*/ 5652 w 8533"/>
                <a:gd name="T49" fmla="*/ 1911 h 8133"/>
                <a:gd name="T50" fmla="*/ 5651 w 8533"/>
                <a:gd name="T51" fmla="*/ 333 h 8133"/>
                <a:gd name="T52" fmla="*/ 5612 w 8533"/>
                <a:gd name="T53" fmla="*/ 1009 h 8133"/>
                <a:gd name="T54" fmla="*/ 5651 w 8533"/>
                <a:gd name="T55" fmla="*/ 333 h 8133"/>
                <a:gd name="T56" fmla="*/ 7750 w 8533"/>
                <a:gd name="T57" fmla="*/ 7800 h 8133"/>
                <a:gd name="T58" fmla="*/ 8200 w 8533"/>
                <a:gd name="T59" fmla="*/ 6346 h 8133"/>
                <a:gd name="T60" fmla="*/ 8002 w 8533"/>
                <a:gd name="T61" fmla="*/ 5638 h 8133"/>
                <a:gd name="T62" fmla="*/ 6557 w 8533"/>
                <a:gd name="T63" fmla="*/ 4756 h 8133"/>
                <a:gd name="T64" fmla="*/ 7091 w 8533"/>
                <a:gd name="T65" fmla="*/ 4432 h 8133"/>
                <a:gd name="T66" fmla="*/ 7515 w 8533"/>
                <a:gd name="T67" fmla="*/ 3488 h 8133"/>
                <a:gd name="T68" fmla="*/ 8029 w 8533"/>
                <a:gd name="T69" fmla="*/ 2629 h 8133"/>
                <a:gd name="T70" fmla="*/ 8222 w 8533"/>
                <a:gd name="T71" fmla="*/ 2376 h 8133"/>
                <a:gd name="T72" fmla="*/ 7343 w 8533"/>
                <a:gd name="T73" fmla="*/ 331 h 8133"/>
                <a:gd name="T74" fmla="*/ 3851 w 8533"/>
                <a:gd name="T75" fmla="*/ 487 h 8133"/>
                <a:gd name="T76" fmla="*/ 3086 w 8533"/>
                <a:gd name="T77" fmla="*/ 2574 h 8133"/>
                <a:gd name="T78" fmla="*/ 3363 w 8533"/>
                <a:gd name="T79" fmla="*/ 2922 h 8133"/>
                <a:gd name="T80" fmla="*/ 3787 w 8533"/>
                <a:gd name="T81" fmla="*/ 3673 h 8133"/>
                <a:gd name="T82" fmla="*/ 4748 w 8533"/>
                <a:gd name="T83" fmla="*/ 4742 h 8133"/>
                <a:gd name="T84" fmla="*/ 4745 w 8533"/>
                <a:gd name="T85" fmla="*/ 5119 h 8133"/>
                <a:gd name="T86" fmla="*/ 3298 w 8533"/>
                <a:gd name="T87" fmla="*/ 5638 h 8133"/>
                <a:gd name="T88" fmla="*/ 2767 w 8533"/>
                <a:gd name="T89" fmla="*/ 7800 h 8133"/>
                <a:gd name="T90" fmla="*/ 2017 w 8533"/>
                <a:gd name="T91" fmla="*/ 6167 h 8133"/>
                <a:gd name="T92" fmla="*/ 2433 w 8533"/>
                <a:gd name="T93" fmla="*/ 3133 h 8133"/>
                <a:gd name="T94" fmla="*/ 2017 w 8533"/>
                <a:gd name="T95" fmla="*/ 5833 h 8133"/>
                <a:gd name="T96" fmla="*/ 1679 w 8533"/>
                <a:gd name="T97" fmla="*/ 3117 h 8133"/>
                <a:gd name="T98" fmla="*/ 1090 w 8533"/>
                <a:gd name="T99" fmla="*/ 5833 h 8133"/>
                <a:gd name="T100" fmla="*/ 757 w 8533"/>
                <a:gd name="T101" fmla="*/ 3284 h 8133"/>
                <a:gd name="T102" fmla="*/ 333 w 8533"/>
                <a:gd name="T103" fmla="*/ 5583 h 8133"/>
                <a:gd name="T104" fmla="*/ 0 w 8533"/>
                <a:gd name="T105" fmla="*/ 3299 h 8133"/>
                <a:gd name="T106" fmla="*/ 900 w 8533"/>
                <a:gd name="T107" fmla="*/ 6167 h 8133"/>
                <a:gd name="T108" fmla="*/ 500 w 8533"/>
                <a:gd name="T109" fmla="*/ 7967 h 8133"/>
                <a:gd name="T110" fmla="*/ 8533 w 8533"/>
                <a:gd name="T111" fmla="*/ 7967 h 8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33" h="8133" extrusionOk="0">
                  <a:moveTo>
                    <a:pt x="1233" y="7800"/>
                  </a:moveTo>
                  <a:lnTo>
                    <a:pt x="1233" y="6167"/>
                  </a:lnTo>
                  <a:lnTo>
                    <a:pt x="1367" y="6167"/>
                  </a:lnTo>
                  <a:lnTo>
                    <a:pt x="1367" y="7800"/>
                  </a:lnTo>
                  <a:lnTo>
                    <a:pt x="1233" y="7800"/>
                  </a:lnTo>
                  <a:close/>
                  <a:moveTo>
                    <a:pt x="3100" y="6346"/>
                  </a:moveTo>
                  <a:cubicBezTo>
                    <a:pt x="3100" y="6183"/>
                    <a:pt x="3227" y="6017"/>
                    <a:pt x="3396" y="5956"/>
                  </a:cubicBezTo>
                  <a:lnTo>
                    <a:pt x="3549" y="5911"/>
                  </a:lnTo>
                  <a:lnTo>
                    <a:pt x="3549" y="7800"/>
                  </a:lnTo>
                  <a:lnTo>
                    <a:pt x="3100" y="7800"/>
                  </a:lnTo>
                  <a:lnTo>
                    <a:pt x="3100" y="6346"/>
                  </a:lnTo>
                  <a:close/>
                  <a:moveTo>
                    <a:pt x="4777" y="5547"/>
                  </a:moveTo>
                  <a:cubicBezTo>
                    <a:pt x="4779" y="5546"/>
                    <a:pt x="4782" y="5546"/>
                    <a:pt x="4784" y="5545"/>
                  </a:cubicBezTo>
                  <a:cubicBezTo>
                    <a:pt x="4806" y="5537"/>
                    <a:pt x="4826" y="5528"/>
                    <a:pt x="4846" y="5518"/>
                  </a:cubicBezTo>
                  <a:lnTo>
                    <a:pt x="5536" y="6203"/>
                  </a:lnTo>
                  <a:cubicBezTo>
                    <a:pt x="5568" y="6236"/>
                    <a:pt x="5611" y="6252"/>
                    <a:pt x="5653" y="6252"/>
                  </a:cubicBezTo>
                  <a:cubicBezTo>
                    <a:pt x="5696" y="6252"/>
                    <a:pt x="5738" y="6236"/>
                    <a:pt x="5771" y="6203"/>
                  </a:cubicBezTo>
                  <a:lnTo>
                    <a:pt x="6458" y="5520"/>
                  </a:lnTo>
                  <a:cubicBezTo>
                    <a:pt x="6476" y="5529"/>
                    <a:pt x="6496" y="5538"/>
                    <a:pt x="6517" y="5545"/>
                  </a:cubicBezTo>
                  <a:cubicBezTo>
                    <a:pt x="6519" y="5546"/>
                    <a:pt x="6522" y="5546"/>
                    <a:pt x="6524" y="5547"/>
                  </a:cubicBezTo>
                  <a:lnTo>
                    <a:pt x="7417" y="5812"/>
                  </a:lnTo>
                  <a:lnTo>
                    <a:pt x="7417" y="7800"/>
                  </a:lnTo>
                  <a:lnTo>
                    <a:pt x="7222" y="7800"/>
                  </a:lnTo>
                  <a:lnTo>
                    <a:pt x="7222" y="6627"/>
                  </a:lnTo>
                  <a:cubicBezTo>
                    <a:pt x="7222" y="6535"/>
                    <a:pt x="7147" y="6461"/>
                    <a:pt x="7055" y="6461"/>
                  </a:cubicBezTo>
                  <a:cubicBezTo>
                    <a:pt x="6963" y="6461"/>
                    <a:pt x="6888" y="6535"/>
                    <a:pt x="6888" y="6627"/>
                  </a:cubicBezTo>
                  <a:lnTo>
                    <a:pt x="6888" y="7800"/>
                  </a:lnTo>
                  <a:lnTo>
                    <a:pt x="4411" y="7800"/>
                  </a:lnTo>
                  <a:lnTo>
                    <a:pt x="4411" y="6627"/>
                  </a:lnTo>
                  <a:cubicBezTo>
                    <a:pt x="4411" y="6535"/>
                    <a:pt x="4336" y="6461"/>
                    <a:pt x="4244" y="6461"/>
                  </a:cubicBezTo>
                  <a:cubicBezTo>
                    <a:pt x="4152" y="6461"/>
                    <a:pt x="4078" y="6535"/>
                    <a:pt x="4078" y="6627"/>
                  </a:cubicBezTo>
                  <a:lnTo>
                    <a:pt x="4078" y="7800"/>
                  </a:lnTo>
                  <a:lnTo>
                    <a:pt x="3883" y="7800"/>
                  </a:lnTo>
                  <a:lnTo>
                    <a:pt x="3883" y="5812"/>
                  </a:lnTo>
                  <a:lnTo>
                    <a:pt x="4777" y="5547"/>
                  </a:lnTo>
                  <a:close/>
                  <a:moveTo>
                    <a:pt x="5234" y="5019"/>
                  </a:moveTo>
                  <a:cubicBezTo>
                    <a:pt x="5363" y="5103"/>
                    <a:pt x="5507" y="5145"/>
                    <a:pt x="5651" y="5145"/>
                  </a:cubicBezTo>
                  <a:cubicBezTo>
                    <a:pt x="5795" y="5145"/>
                    <a:pt x="5939" y="5103"/>
                    <a:pt x="6068" y="5019"/>
                  </a:cubicBezTo>
                  <a:lnTo>
                    <a:pt x="6224" y="4930"/>
                  </a:lnTo>
                  <a:lnTo>
                    <a:pt x="6224" y="5107"/>
                  </a:lnTo>
                  <a:cubicBezTo>
                    <a:pt x="6223" y="5111"/>
                    <a:pt x="6223" y="5115"/>
                    <a:pt x="6223" y="5119"/>
                  </a:cubicBezTo>
                  <a:lnTo>
                    <a:pt x="6223" y="5160"/>
                  </a:lnTo>
                  <a:cubicBezTo>
                    <a:pt x="6223" y="5165"/>
                    <a:pt x="6223" y="5169"/>
                    <a:pt x="6224" y="5174"/>
                  </a:cubicBezTo>
                  <a:lnTo>
                    <a:pt x="6224" y="5282"/>
                  </a:lnTo>
                  <a:lnTo>
                    <a:pt x="5653" y="5850"/>
                  </a:lnTo>
                  <a:lnTo>
                    <a:pt x="5081" y="5282"/>
                  </a:lnTo>
                  <a:lnTo>
                    <a:pt x="5081" y="4932"/>
                  </a:lnTo>
                  <a:lnTo>
                    <a:pt x="5234" y="5019"/>
                  </a:lnTo>
                  <a:close/>
                  <a:moveTo>
                    <a:pt x="4119" y="3654"/>
                  </a:moveTo>
                  <a:lnTo>
                    <a:pt x="4119" y="3345"/>
                  </a:lnTo>
                  <a:cubicBezTo>
                    <a:pt x="4119" y="3253"/>
                    <a:pt x="4045" y="3178"/>
                    <a:pt x="3953" y="3178"/>
                  </a:cubicBezTo>
                  <a:cubicBezTo>
                    <a:pt x="3812" y="3178"/>
                    <a:pt x="3697" y="3064"/>
                    <a:pt x="3697" y="2922"/>
                  </a:cubicBezTo>
                  <a:cubicBezTo>
                    <a:pt x="3697" y="2781"/>
                    <a:pt x="3812" y="2667"/>
                    <a:pt x="3953" y="2667"/>
                  </a:cubicBezTo>
                  <a:cubicBezTo>
                    <a:pt x="4042" y="2667"/>
                    <a:pt x="4115" y="2597"/>
                    <a:pt x="4119" y="2508"/>
                  </a:cubicBezTo>
                  <a:lnTo>
                    <a:pt x="4125" y="2393"/>
                  </a:lnTo>
                  <a:cubicBezTo>
                    <a:pt x="4604" y="2295"/>
                    <a:pt x="5120" y="2245"/>
                    <a:pt x="5652" y="2245"/>
                  </a:cubicBezTo>
                  <a:cubicBezTo>
                    <a:pt x="6186" y="2245"/>
                    <a:pt x="6702" y="2295"/>
                    <a:pt x="7182" y="2393"/>
                  </a:cubicBezTo>
                  <a:lnTo>
                    <a:pt x="7182" y="2500"/>
                  </a:lnTo>
                  <a:cubicBezTo>
                    <a:pt x="7182" y="2592"/>
                    <a:pt x="7257" y="2667"/>
                    <a:pt x="7349" y="2667"/>
                  </a:cubicBezTo>
                  <a:cubicBezTo>
                    <a:pt x="7490" y="2667"/>
                    <a:pt x="7604" y="2781"/>
                    <a:pt x="7604" y="2922"/>
                  </a:cubicBezTo>
                  <a:cubicBezTo>
                    <a:pt x="7604" y="3064"/>
                    <a:pt x="7490" y="3178"/>
                    <a:pt x="7349" y="3178"/>
                  </a:cubicBezTo>
                  <a:cubicBezTo>
                    <a:pt x="7257" y="3178"/>
                    <a:pt x="7182" y="3253"/>
                    <a:pt x="7182" y="3345"/>
                  </a:cubicBezTo>
                  <a:lnTo>
                    <a:pt x="7182" y="3654"/>
                  </a:lnTo>
                  <a:cubicBezTo>
                    <a:pt x="7164" y="3864"/>
                    <a:pt x="7063" y="4049"/>
                    <a:pt x="6911" y="4151"/>
                  </a:cubicBezTo>
                  <a:lnTo>
                    <a:pt x="5898" y="4733"/>
                  </a:lnTo>
                  <a:cubicBezTo>
                    <a:pt x="5895" y="4734"/>
                    <a:pt x="5892" y="4736"/>
                    <a:pt x="5889" y="4738"/>
                  </a:cubicBezTo>
                  <a:cubicBezTo>
                    <a:pt x="5740" y="4837"/>
                    <a:pt x="5562" y="4837"/>
                    <a:pt x="5413" y="4738"/>
                  </a:cubicBezTo>
                  <a:cubicBezTo>
                    <a:pt x="5410" y="4736"/>
                    <a:pt x="5407" y="4734"/>
                    <a:pt x="5404" y="4733"/>
                  </a:cubicBezTo>
                  <a:lnTo>
                    <a:pt x="4387" y="4151"/>
                  </a:lnTo>
                  <a:cubicBezTo>
                    <a:pt x="4237" y="4050"/>
                    <a:pt x="4137" y="3865"/>
                    <a:pt x="4119" y="3654"/>
                  </a:cubicBezTo>
                  <a:close/>
                  <a:moveTo>
                    <a:pt x="4120" y="1492"/>
                  </a:moveTo>
                  <a:cubicBezTo>
                    <a:pt x="4270" y="1452"/>
                    <a:pt x="4765" y="1342"/>
                    <a:pt x="5612" y="1342"/>
                  </a:cubicBezTo>
                  <a:cubicBezTo>
                    <a:pt x="6468" y="1342"/>
                    <a:pt x="7017" y="1455"/>
                    <a:pt x="7183" y="1495"/>
                  </a:cubicBezTo>
                  <a:lnTo>
                    <a:pt x="7661" y="2164"/>
                  </a:lnTo>
                  <a:cubicBezTo>
                    <a:pt x="7048" y="1998"/>
                    <a:pt x="6363" y="1911"/>
                    <a:pt x="5652" y="1911"/>
                  </a:cubicBezTo>
                  <a:cubicBezTo>
                    <a:pt x="4941" y="1911"/>
                    <a:pt x="4256" y="1998"/>
                    <a:pt x="3642" y="2164"/>
                  </a:cubicBezTo>
                  <a:lnTo>
                    <a:pt x="4120" y="1492"/>
                  </a:lnTo>
                  <a:close/>
                  <a:moveTo>
                    <a:pt x="5651" y="333"/>
                  </a:moveTo>
                  <a:cubicBezTo>
                    <a:pt x="6242" y="333"/>
                    <a:pt x="6871" y="523"/>
                    <a:pt x="7117" y="605"/>
                  </a:cubicBezTo>
                  <a:lnTo>
                    <a:pt x="7117" y="1139"/>
                  </a:lnTo>
                  <a:cubicBezTo>
                    <a:pt x="6850" y="1086"/>
                    <a:pt x="6338" y="1009"/>
                    <a:pt x="5612" y="1009"/>
                  </a:cubicBezTo>
                  <a:cubicBezTo>
                    <a:pt x="4908" y="1009"/>
                    <a:pt x="4437" y="1081"/>
                    <a:pt x="4184" y="1134"/>
                  </a:cubicBezTo>
                  <a:lnTo>
                    <a:pt x="4184" y="605"/>
                  </a:lnTo>
                  <a:cubicBezTo>
                    <a:pt x="4430" y="523"/>
                    <a:pt x="5058" y="333"/>
                    <a:pt x="5651" y="333"/>
                  </a:cubicBezTo>
                  <a:close/>
                  <a:moveTo>
                    <a:pt x="8200" y="6346"/>
                  </a:moveTo>
                  <a:lnTo>
                    <a:pt x="8200" y="7800"/>
                  </a:lnTo>
                  <a:lnTo>
                    <a:pt x="7750" y="7800"/>
                  </a:lnTo>
                  <a:lnTo>
                    <a:pt x="7750" y="5911"/>
                  </a:lnTo>
                  <a:lnTo>
                    <a:pt x="7904" y="5956"/>
                  </a:lnTo>
                  <a:cubicBezTo>
                    <a:pt x="8073" y="6017"/>
                    <a:pt x="8200" y="6183"/>
                    <a:pt x="8200" y="6346"/>
                  </a:cubicBezTo>
                  <a:close/>
                  <a:moveTo>
                    <a:pt x="8533" y="6346"/>
                  </a:moveTo>
                  <a:cubicBezTo>
                    <a:pt x="8533" y="6038"/>
                    <a:pt x="8318" y="5748"/>
                    <a:pt x="8010" y="5640"/>
                  </a:cubicBezTo>
                  <a:cubicBezTo>
                    <a:pt x="8007" y="5639"/>
                    <a:pt x="8005" y="5639"/>
                    <a:pt x="8002" y="5638"/>
                  </a:cubicBezTo>
                  <a:lnTo>
                    <a:pt x="6623" y="5229"/>
                  </a:lnTo>
                  <a:cubicBezTo>
                    <a:pt x="6586" y="5215"/>
                    <a:pt x="6560" y="5189"/>
                    <a:pt x="6557" y="5164"/>
                  </a:cubicBezTo>
                  <a:lnTo>
                    <a:pt x="6557" y="4756"/>
                  </a:lnTo>
                  <a:cubicBezTo>
                    <a:pt x="6557" y="4750"/>
                    <a:pt x="6557" y="4745"/>
                    <a:pt x="6556" y="4739"/>
                  </a:cubicBezTo>
                  <a:lnTo>
                    <a:pt x="7082" y="4438"/>
                  </a:lnTo>
                  <a:cubicBezTo>
                    <a:pt x="7085" y="4436"/>
                    <a:pt x="7088" y="4434"/>
                    <a:pt x="7091" y="4432"/>
                  </a:cubicBezTo>
                  <a:cubicBezTo>
                    <a:pt x="7332" y="4273"/>
                    <a:pt x="7491" y="3989"/>
                    <a:pt x="7515" y="3673"/>
                  </a:cubicBezTo>
                  <a:cubicBezTo>
                    <a:pt x="7515" y="3669"/>
                    <a:pt x="7515" y="3665"/>
                    <a:pt x="7515" y="3661"/>
                  </a:cubicBezTo>
                  <a:lnTo>
                    <a:pt x="7515" y="3488"/>
                  </a:lnTo>
                  <a:cubicBezTo>
                    <a:pt x="7759" y="3416"/>
                    <a:pt x="7938" y="3190"/>
                    <a:pt x="7938" y="2922"/>
                  </a:cubicBezTo>
                  <a:cubicBezTo>
                    <a:pt x="7938" y="2783"/>
                    <a:pt x="7889" y="2656"/>
                    <a:pt x="7809" y="2555"/>
                  </a:cubicBezTo>
                  <a:cubicBezTo>
                    <a:pt x="7883" y="2578"/>
                    <a:pt x="7957" y="2603"/>
                    <a:pt x="8029" y="2629"/>
                  </a:cubicBezTo>
                  <a:cubicBezTo>
                    <a:pt x="8048" y="2636"/>
                    <a:pt x="8067" y="2639"/>
                    <a:pt x="8086" y="2639"/>
                  </a:cubicBezTo>
                  <a:cubicBezTo>
                    <a:pt x="8137" y="2639"/>
                    <a:pt x="8187" y="2616"/>
                    <a:pt x="8219" y="2574"/>
                  </a:cubicBezTo>
                  <a:cubicBezTo>
                    <a:pt x="8263" y="2516"/>
                    <a:pt x="8264" y="2435"/>
                    <a:pt x="8222" y="2376"/>
                  </a:cubicBezTo>
                  <a:lnTo>
                    <a:pt x="7450" y="1295"/>
                  </a:lnTo>
                  <a:lnTo>
                    <a:pt x="7450" y="487"/>
                  </a:lnTo>
                  <a:cubicBezTo>
                    <a:pt x="7450" y="418"/>
                    <a:pt x="7408" y="356"/>
                    <a:pt x="7343" y="331"/>
                  </a:cubicBezTo>
                  <a:cubicBezTo>
                    <a:pt x="7308" y="318"/>
                    <a:pt x="6466" y="0"/>
                    <a:pt x="5651" y="0"/>
                  </a:cubicBezTo>
                  <a:cubicBezTo>
                    <a:pt x="4836" y="0"/>
                    <a:pt x="3993" y="318"/>
                    <a:pt x="3958" y="331"/>
                  </a:cubicBezTo>
                  <a:cubicBezTo>
                    <a:pt x="3893" y="356"/>
                    <a:pt x="3851" y="418"/>
                    <a:pt x="3851" y="487"/>
                  </a:cubicBezTo>
                  <a:lnTo>
                    <a:pt x="3851" y="1295"/>
                  </a:lnTo>
                  <a:lnTo>
                    <a:pt x="3083" y="2376"/>
                  </a:lnTo>
                  <a:cubicBezTo>
                    <a:pt x="3041" y="2436"/>
                    <a:pt x="3042" y="2516"/>
                    <a:pt x="3086" y="2574"/>
                  </a:cubicBezTo>
                  <a:cubicBezTo>
                    <a:pt x="3131" y="2632"/>
                    <a:pt x="3207" y="2654"/>
                    <a:pt x="3276" y="2629"/>
                  </a:cubicBezTo>
                  <a:cubicBezTo>
                    <a:pt x="3346" y="2604"/>
                    <a:pt x="3418" y="2580"/>
                    <a:pt x="3491" y="2556"/>
                  </a:cubicBezTo>
                  <a:cubicBezTo>
                    <a:pt x="3411" y="2657"/>
                    <a:pt x="3363" y="2784"/>
                    <a:pt x="3363" y="2922"/>
                  </a:cubicBezTo>
                  <a:cubicBezTo>
                    <a:pt x="3363" y="3190"/>
                    <a:pt x="3542" y="3416"/>
                    <a:pt x="3786" y="3488"/>
                  </a:cubicBezTo>
                  <a:lnTo>
                    <a:pt x="3786" y="3661"/>
                  </a:lnTo>
                  <a:cubicBezTo>
                    <a:pt x="3786" y="3665"/>
                    <a:pt x="3786" y="3669"/>
                    <a:pt x="3787" y="3673"/>
                  </a:cubicBezTo>
                  <a:cubicBezTo>
                    <a:pt x="3811" y="3991"/>
                    <a:pt x="3968" y="4274"/>
                    <a:pt x="4207" y="4432"/>
                  </a:cubicBezTo>
                  <a:cubicBezTo>
                    <a:pt x="4210" y="4434"/>
                    <a:pt x="4213" y="4436"/>
                    <a:pt x="4217" y="4438"/>
                  </a:cubicBezTo>
                  <a:lnTo>
                    <a:pt x="4748" y="4742"/>
                  </a:lnTo>
                  <a:cubicBezTo>
                    <a:pt x="4748" y="4746"/>
                    <a:pt x="4748" y="4751"/>
                    <a:pt x="4748" y="4756"/>
                  </a:cubicBezTo>
                  <a:lnTo>
                    <a:pt x="4748" y="5090"/>
                  </a:lnTo>
                  <a:cubicBezTo>
                    <a:pt x="4746" y="5100"/>
                    <a:pt x="4745" y="5109"/>
                    <a:pt x="4745" y="5119"/>
                  </a:cubicBezTo>
                  <a:lnTo>
                    <a:pt x="4745" y="5160"/>
                  </a:lnTo>
                  <a:cubicBezTo>
                    <a:pt x="4745" y="5186"/>
                    <a:pt x="4717" y="5214"/>
                    <a:pt x="4678" y="5229"/>
                  </a:cubicBezTo>
                  <a:lnTo>
                    <a:pt x="3298" y="5638"/>
                  </a:lnTo>
                  <a:cubicBezTo>
                    <a:pt x="3295" y="5639"/>
                    <a:pt x="3293" y="5639"/>
                    <a:pt x="3290" y="5640"/>
                  </a:cubicBezTo>
                  <a:cubicBezTo>
                    <a:pt x="2982" y="5748"/>
                    <a:pt x="2767" y="6038"/>
                    <a:pt x="2767" y="6346"/>
                  </a:cubicBezTo>
                  <a:lnTo>
                    <a:pt x="2767" y="7800"/>
                  </a:lnTo>
                  <a:lnTo>
                    <a:pt x="1700" y="7800"/>
                  </a:lnTo>
                  <a:lnTo>
                    <a:pt x="1700" y="6167"/>
                  </a:lnTo>
                  <a:lnTo>
                    <a:pt x="2017" y="6167"/>
                  </a:lnTo>
                  <a:cubicBezTo>
                    <a:pt x="2338" y="6167"/>
                    <a:pt x="2600" y="5905"/>
                    <a:pt x="2600" y="5583"/>
                  </a:cubicBezTo>
                  <a:lnTo>
                    <a:pt x="2600" y="3299"/>
                  </a:lnTo>
                  <a:cubicBezTo>
                    <a:pt x="2600" y="3207"/>
                    <a:pt x="2525" y="3133"/>
                    <a:pt x="2433" y="3133"/>
                  </a:cubicBezTo>
                  <a:cubicBezTo>
                    <a:pt x="2341" y="3133"/>
                    <a:pt x="2267" y="3207"/>
                    <a:pt x="2267" y="3299"/>
                  </a:cubicBezTo>
                  <a:lnTo>
                    <a:pt x="2267" y="5583"/>
                  </a:lnTo>
                  <a:cubicBezTo>
                    <a:pt x="2267" y="5721"/>
                    <a:pt x="2155" y="5833"/>
                    <a:pt x="2017" y="5833"/>
                  </a:cubicBezTo>
                  <a:lnTo>
                    <a:pt x="1845" y="5833"/>
                  </a:lnTo>
                  <a:lnTo>
                    <a:pt x="1845" y="3284"/>
                  </a:lnTo>
                  <a:cubicBezTo>
                    <a:pt x="1845" y="3192"/>
                    <a:pt x="1771" y="3117"/>
                    <a:pt x="1679" y="3117"/>
                  </a:cubicBezTo>
                  <a:cubicBezTo>
                    <a:pt x="1587" y="3117"/>
                    <a:pt x="1512" y="3192"/>
                    <a:pt x="1512" y="3284"/>
                  </a:cubicBezTo>
                  <a:lnTo>
                    <a:pt x="1512" y="5833"/>
                  </a:lnTo>
                  <a:lnTo>
                    <a:pt x="1090" y="5833"/>
                  </a:lnTo>
                  <a:lnTo>
                    <a:pt x="1090" y="3284"/>
                  </a:lnTo>
                  <a:cubicBezTo>
                    <a:pt x="1090" y="3192"/>
                    <a:pt x="1016" y="3117"/>
                    <a:pt x="924" y="3117"/>
                  </a:cubicBezTo>
                  <a:cubicBezTo>
                    <a:pt x="832" y="3117"/>
                    <a:pt x="757" y="3192"/>
                    <a:pt x="757" y="3284"/>
                  </a:cubicBezTo>
                  <a:lnTo>
                    <a:pt x="757" y="5833"/>
                  </a:lnTo>
                  <a:lnTo>
                    <a:pt x="583" y="5833"/>
                  </a:lnTo>
                  <a:cubicBezTo>
                    <a:pt x="445" y="5833"/>
                    <a:pt x="333" y="5721"/>
                    <a:pt x="333" y="5583"/>
                  </a:cubicBezTo>
                  <a:lnTo>
                    <a:pt x="333" y="3299"/>
                  </a:lnTo>
                  <a:cubicBezTo>
                    <a:pt x="333" y="3207"/>
                    <a:pt x="259" y="3133"/>
                    <a:pt x="167" y="3133"/>
                  </a:cubicBezTo>
                  <a:cubicBezTo>
                    <a:pt x="75" y="3133"/>
                    <a:pt x="0" y="3207"/>
                    <a:pt x="0" y="3299"/>
                  </a:cubicBezTo>
                  <a:lnTo>
                    <a:pt x="0" y="5583"/>
                  </a:lnTo>
                  <a:cubicBezTo>
                    <a:pt x="0" y="5905"/>
                    <a:pt x="262" y="6167"/>
                    <a:pt x="583" y="6167"/>
                  </a:cubicBezTo>
                  <a:lnTo>
                    <a:pt x="900" y="6167"/>
                  </a:lnTo>
                  <a:lnTo>
                    <a:pt x="900" y="7800"/>
                  </a:lnTo>
                  <a:lnTo>
                    <a:pt x="666" y="7800"/>
                  </a:lnTo>
                  <a:cubicBezTo>
                    <a:pt x="574" y="7800"/>
                    <a:pt x="500" y="7875"/>
                    <a:pt x="500" y="7967"/>
                  </a:cubicBezTo>
                  <a:cubicBezTo>
                    <a:pt x="500" y="8059"/>
                    <a:pt x="574" y="8133"/>
                    <a:pt x="666" y="8133"/>
                  </a:cubicBezTo>
                  <a:lnTo>
                    <a:pt x="8367" y="8133"/>
                  </a:lnTo>
                  <a:cubicBezTo>
                    <a:pt x="8459" y="8133"/>
                    <a:pt x="8533" y="8059"/>
                    <a:pt x="8533" y="7967"/>
                  </a:cubicBezTo>
                  <a:lnTo>
                    <a:pt x="8533" y="6346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58" name="Oval 60"/>
            <p:cNvSpPr>
              <a:spLocks noChangeArrowheads="1"/>
            </p:cNvSpPr>
            <p:nvPr/>
          </p:nvSpPr>
          <p:spPr bwMode="auto">
            <a:xfrm>
              <a:off x="1179513" y="5018088"/>
              <a:ext cx="22225" cy="22225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59" name="Oval 61"/>
            <p:cNvSpPr>
              <a:spLocks noChangeArrowheads="1"/>
            </p:cNvSpPr>
            <p:nvPr/>
          </p:nvSpPr>
          <p:spPr bwMode="auto">
            <a:xfrm>
              <a:off x="1098551" y="5018088"/>
              <a:ext cx="22225" cy="22225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60" name="Freeform 62"/>
            <p:cNvSpPr/>
            <p:nvPr/>
          </p:nvSpPr>
          <p:spPr bwMode="auto">
            <a:xfrm>
              <a:off x="1057276" y="5208588"/>
              <a:ext cx="19050" cy="20638"/>
            </a:xfrm>
            <a:custGeom>
              <a:avLst/>
              <a:gdLst>
                <a:gd name="T0" fmla="*/ 166 w 333"/>
                <a:gd name="T1" fmla="*/ 336 h 336"/>
                <a:gd name="T2" fmla="*/ 333 w 333"/>
                <a:gd name="T3" fmla="*/ 169 h 336"/>
                <a:gd name="T4" fmla="*/ 333 w 333"/>
                <a:gd name="T5" fmla="*/ 167 h 336"/>
                <a:gd name="T6" fmla="*/ 166 w 333"/>
                <a:gd name="T7" fmla="*/ 0 h 336"/>
                <a:gd name="T8" fmla="*/ 0 w 333"/>
                <a:gd name="T9" fmla="*/ 167 h 336"/>
                <a:gd name="T10" fmla="*/ 0 w 333"/>
                <a:gd name="T11" fmla="*/ 169 h 336"/>
                <a:gd name="T12" fmla="*/ 166 w 333"/>
                <a:gd name="T13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3" h="336" extrusionOk="0">
                  <a:moveTo>
                    <a:pt x="166" y="336"/>
                  </a:moveTo>
                  <a:cubicBezTo>
                    <a:pt x="258" y="336"/>
                    <a:pt x="333" y="262"/>
                    <a:pt x="333" y="169"/>
                  </a:cubicBezTo>
                  <a:lnTo>
                    <a:pt x="333" y="167"/>
                  </a:lnTo>
                  <a:cubicBezTo>
                    <a:pt x="333" y="75"/>
                    <a:pt x="258" y="0"/>
                    <a:pt x="166" y="0"/>
                  </a:cubicBezTo>
                  <a:cubicBezTo>
                    <a:pt x="74" y="0"/>
                    <a:pt x="0" y="75"/>
                    <a:pt x="0" y="167"/>
                  </a:cubicBezTo>
                  <a:lnTo>
                    <a:pt x="0" y="169"/>
                  </a:lnTo>
                  <a:cubicBezTo>
                    <a:pt x="0" y="262"/>
                    <a:pt x="74" y="336"/>
                    <a:pt x="166" y="3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61" name="Freeform 63"/>
            <p:cNvSpPr/>
            <p:nvPr/>
          </p:nvSpPr>
          <p:spPr bwMode="auto">
            <a:xfrm>
              <a:off x="1223963" y="5208588"/>
              <a:ext cx="19050" cy="20638"/>
            </a:xfrm>
            <a:custGeom>
              <a:avLst/>
              <a:gdLst>
                <a:gd name="T0" fmla="*/ 167 w 334"/>
                <a:gd name="T1" fmla="*/ 336 h 336"/>
                <a:gd name="T2" fmla="*/ 334 w 334"/>
                <a:gd name="T3" fmla="*/ 169 h 336"/>
                <a:gd name="T4" fmla="*/ 334 w 334"/>
                <a:gd name="T5" fmla="*/ 167 h 336"/>
                <a:gd name="T6" fmla="*/ 167 w 334"/>
                <a:gd name="T7" fmla="*/ 0 h 336"/>
                <a:gd name="T8" fmla="*/ 0 w 334"/>
                <a:gd name="T9" fmla="*/ 167 h 336"/>
                <a:gd name="T10" fmla="*/ 0 w 334"/>
                <a:gd name="T11" fmla="*/ 169 h 336"/>
                <a:gd name="T12" fmla="*/ 167 w 334"/>
                <a:gd name="T13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4" h="336" extrusionOk="0">
                  <a:moveTo>
                    <a:pt x="167" y="336"/>
                  </a:moveTo>
                  <a:cubicBezTo>
                    <a:pt x="259" y="336"/>
                    <a:pt x="334" y="262"/>
                    <a:pt x="334" y="169"/>
                  </a:cubicBezTo>
                  <a:lnTo>
                    <a:pt x="334" y="167"/>
                  </a:lnTo>
                  <a:cubicBezTo>
                    <a:pt x="334" y="75"/>
                    <a:pt x="259" y="0"/>
                    <a:pt x="167" y="0"/>
                  </a:cubicBezTo>
                  <a:cubicBezTo>
                    <a:pt x="75" y="0"/>
                    <a:pt x="0" y="75"/>
                    <a:pt x="0" y="167"/>
                  </a:cubicBezTo>
                  <a:lnTo>
                    <a:pt x="0" y="169"/>
                  </a:lnTo>
                  <a:cubicBezTo>
                    <a:pt x="0" y="262"/>
                    <a:pt x="75" y="336"/>
                    <a:pt x="167" y="3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62" name="Freeform 64"/>
            <p:cNvSpPr/>
            <p:nvPr/>
          </p:nvSpPr>
          <p:spPr bwMode="auto">
            <a:xfrm>
              <a:off x="1128713" y="5070475"/>
              <a:ext cx="42863" cy="23813"/>
            </a:xfrm>
            <a:custGeom>
              <a:avLst/>
              <a:gdLst>
                <a:gd name="T0" fmla="*/ 625 w 704"/>
                <a:gd name="T1" fmla="*/ 312 h 395"/>
                <a:gd name="T2" fmla="*/ 644 w 704"/>
                <a:gd name="T3" fmla="*/ 77 h 395"/>
                <a:gd name="T4" fmla="*/ 419 w 704"/>
                <a:gd name="T5" fmla="*/ 50 h 395"/>
                <a:gd name="T6" fmla="*/ 351 w 704"/>
                <a:gd name="T7" fmla="*/ 62 h 395"/>
                <a:gd name="T8" fmla="*/ 285 w 704"/>
                <a:gd name="T9" fmla="*/ 51 h 395"/>
                <a:gd name="T10" fmla="*/ 60 w 704"/>
                <a:gd name="T11" fmla="*/ 75 h 395"/>
                <a:gd name="T12" fmla="*/ 76 w 704"/>
                <a:gd name="T13" fmla="*/ 311 h 395"/>
                <a:gd name="T14" fmla="*/ 351 w 704"/>
                <a:gd name="T15" fmla="*/ 395 h 395"/>
                <a:gd name="T16" fmla="*/ 625 w 704"/>
                <a:gd name="T17" fmla="*/ 312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4" h="395" extrusionOk="0">
                  <a:moveTo>
                    <a:pt x="625" y="312"/>
                  </a:moveTo>
                  <a:cubicBezTo>
                    <a:pt x="695" y="253"/>
                    <a:pt x="704" y="147"/>
                    <a:pt x="644" y="77"/>
                  </a:cubicBezTo>
                  <a:cubicBezTo>
                    <a:pt x="587" y="10"/>
                    <a:pt x="489" y="0"/>
                    <a:pt x="419" y="50"/>
                  </a:cubicBezTo>
                  <a:cubicBezTo>
                    <a:pt x="414" y="53"/>
                    <a:pt x="392" y="62"/>
                    <a:pt x="351" y="62"/>
                  </a:cubicBezTo>
                  <a:cubicBezTo>
                    <a:pt x="311" y="62"/>
                    <a:pt x="290" y="54"/>
                    <a:pt x="285" y="51"/>
                  </a:cubicBezTo>
                  <a:cubicBezTo>
                    <a:pt x="216" y="0"/>
                    <a:pt x="118" y="10"/>
                    <a:pt x="60" y="75"/>
                  </a:cubicBezTo>
                  <a:cubicBezTo>
                    <a:pt x="0" y="145"/>
                    <a:pt x="7" y="250"/>
                    <a:pt x="76" y="311"/>
                  </a:cubicBezTo>
                  <a:cubicBezTo>
                    <a:pt x="98" y="330"/>
                    <a:pt x="185" y="395"/>
                    <a:pt x="351" y="395"/>
                  </a:cubicBezTo>
                  <a:cubicBezTo>
                    <a:pt x="515" y="395"/>
                    <a:pt x="602" y="332"/>
                    <a:pt x="625" y="312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</p:grpSp>
      <p:grpSp>
        <p:nvGrpSpPr>
          <p:cNvPr id="63" name="Group 295"/>
          <p:cNvGrpSpPr/>
          <p:nvPr/>
        </p:nvGrpSpPr>
        <p:grpSpPr bwMode="auto">
          <a:xfrm>
            <a:off x="758267" y="2591848"/>
            <a:ext cx="513355" cy="505049"/>
            <a:chOff x="6886575" y="4418013"/>
            <a:chExt cx="784226" cy="771525"/>
          </a:xfrm>
          <a:solidFill>
            <a:schemeClr val="tx1"/>
          </a:solidFill>
        </p:grpSpPr>
        <p:sp>
          <p:nvSpPr>
            <p:cNvPr id="64" name="Freeform 170"/>
            <p:cNvSpPr>
              <a:spLocks noEditPoints="1"/>
            </p:cNvSpPr>
            <p:nvPr/>
          </p:nvSpPr>
          <p:spPr bwMode="auto">
            <a:xfrm>
              <a:off x="6886575" y="4745038"/>
              <a:ext cx="588963" cy="444500"/>
            </a:xfrm>
            <a:custGeom>
              <a:avLst/>
              <a:gdLst>
                <a:gd name="T0" fmla="*/ 3902 w 4582"/>
                <a:gd name="T1" fmla="*/ 1817 h 3451"/>
                <a:gd name="T2" fmla="*/ 3144 w 4582"/>
                <a:gd name="T3" fmla="*/ 2051 h 3451"/>
                <a:gd name="T4" fmla="*/ 3400 w 4582"/>
                <a:gd name="T5" fmla="*/ 1951 h 3451"/>
                <a:gd name="T6" fmla="*/ 3300 w 4582"/>
                <a:gd name="T7" fmla="*/ 1351 h 3451"/>
                <a:gd name="T8" fmla="*/ 2800 w 4582"/>
                <a:gd name="T9" fmla="*/ 951 h 3451"/>
                <a:gd name="T10" fmla="*/ 2603 w 4582"/>
                <a:gd name="T11" fmla="*/ 851 h 3451"/>
                <a:gd name="T12" fmla="*/ 3195 w 4582"/>
                <a:gd name="T13" fmla="*/ 559 h 3451"/>
                <a:gd name="T14" fmla="*/ 2919 w 4582"/>
                <a:gd name="T15" fmla="*/ 17 h 3451"/>
                <a:gd name="T16" fmla="*/ 1775 w 4582"/>
                <a:gd name="T17" fmla="*/ 379 h 3451"/>
                <a:gd name="T18" fmla="*/ 1819 w 4582"/>
                <a:gd name="T19" fmla="*/ 851 h 3451"/>
                <a:gd name="T20" fmla="*/ 1400 w 4582"/>
                <a:gd name="T21" fmla="*/ 951 h 3451"/>
                <a:gd name="T22" fmla="*/ 1403 w 4582"/>
                <a:gd name="T23" fmla="*/ 1467 h 3451"/>
                <a:gd name="T24" fmla="*/ 100 w 4582"/>
                <a:gd name="T25" fmla="*/ 1651 h 3451"/>
                <a:gd name="T26" fmla="*/ 0 w 4582"/>
                <a:gd name="T27" fmla="*/ 3351 h 3451"/>
                <a:gd name="T28" fmla="*/ 2876 w 4582"/>
                <a:gd name="T29" fmla="*/ 3451 h 3451"/>
                <a:gd name="T30" fmla="*/ 4367 w 4582"/>
                <a:gd name="T31" fmla="*/ 2532 h 3451"/>
                <a:gd name="T32" fmla="*/ 4188 w 4582"/>
                <a:gd name="T33" fmla="*/ 1758 h 3451"/>
                <a:gd name="T34" fmla="*/ 200 w 4582"/>
                <a:gd name="T35" fmla="*/ 3251 h 3451"/>
                <a:gd name="T36" fmla="*/ 600 w 4582"/>
                <a:gd name="T37" fmla="*/ 1851 h 3451"/>
                <a:gd name="T38" fmla="*/ 3200 w 4582"/>
                <a:gd name="T39" fmla="*/ 1551 h 3451"/>
                <a:gd name="T40" fmla="*/ 2200 w 4582"/>
                <a:gd name="T41" fmla="*/ 1851 h 3451"/>
                <a:gd name="T42" fmla="*/ 3200 w 4582"/>
                <a:gd name="T43" fmla="*/ 1551 h 3451"/>
                <a:gd name="T44" fmla="*/ 2975 w 4582"/>
                <a:gd name="T45" fmla="*/ 524 h 3451"/>
                <a:gd name="T46" fmla="*/ 1931 w 4582"/>
                <a:gd name="T47" fmla="*/ 540 h 3451"/>
                <a:gd name="T48" fmla="*/ 1600 w 4582"/>
                <a:gd name="T49" fmla="*/ 1051 h 3451"/>
                <a:gd name="T50" fmla="*/ 2600 w 4582"/>
                <a:gd name="T51" fmla="*/ 1351 h 3451"/>
                <a:gd name="T52" fmla="*/ 1600 w 4582"/>
                <a:gd name="T53" fmla="*/ 1051 h 3451"/>
                <a:gd name="T54" fmla="*/ 2000 w 4582"/>
                <a:gd name="T55" fmla="*/ 1717 h 3451"/>
                <a:gd name="T56" fmla="*/ 2000 w 4582"/>
                <a:gd name="T57" fmla="*/ 1551 h 3451"/>
                <a:gd name="T58" fmla="*/ 4254 w 4582"/>
                <a:gd name="T59" fmla="*/ 2368 h 3451"/>
                <a:gd name="T60" fmla="*/ 2876 w 4582"/>
                <a:gd name="T61" fmla="*/ 3251 h 3451"/>
                <a:gd name="T62" fmla="*/ 800 w 4582"/>
                <a:gd name="T63" fmla="*/ 1805 h 3451"/>
                <a:gd name="T64" fmla="*/ 2029 w 4582"/>
                <a:gd name="T65" fmla="*/ 2022 h 3451"/>
                <a:gd name="T66" fmla="*/ 2800 w 4582"/>
                <a:gd name="T67" fmla="*/ 2051 h 3451"/>
                <a:gd name="T68" fmla="*/ 2800 w 4582"/>
                <a:gd name="T69" fmla="*/ 2451 h 3451"/>
                <a:gd name="T70" fmla="*/ 1900 w 4582"/>
                <a:gd name="T71" fmla="*/ 2651 h 3451"/>
                <a:gd name="T72" fmla="*/ 2952 w 4582"/>
                <a:gd name="T73" fmla="*/ 2636 h 3451"/>
                <a:gd name="T74" fmla="*/ 4302 w 4582"/>
                <a:gd name="T75" fmla="*/ 2039 h 3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582" h="3451" extrusionOk="0">
                  <a:moveTo>
                    <a:pt x="4188" y="1758"/>
                  </a:moveTo>
                  <a:cubicBezTo>
                    <a:pt x="4088" y="1744"/>
                    <a:pt x="3987" y="1765"/>
                    <a:pt x="3902" y="1817"/>
                  </a:cubicBezTo>
                  <a:lnTo>
                    <a:pt x="3200" y="2249"/>
                  </a:lnTo>
                  <a:cubicBezTo>
                    <a:pt x="3199" y="2179"/>
                    <a:pt x="3180" y="2111"/>
                    <a:pt x="3144" y="2051"/>
                  </a:cubicBezTo>
                  <a:lnTo>
                    <a:pt x="3300" y="2051"/>
                  </a:lnTo>
                  <a:cubicBezTo>
                    <a:pt x="3355" y="2051"/>
                    <a:pt x="3400" y="2006"/>
                    <a:pt x="3400" y="1951"/>
                  </a:cubicBezTo>
                  <a:lnTo>
                    <a:pt x="3400" y="1451"/>
                  </a:lnTo>
                  <a:cubicBezTo>
                    <a:pt x="3400" y="1396"/>
                    <a:pt x="3355" y="1351"/>
                    <a:pt x="3300" y="1351"/>
                  </a:cubicBezTo>
                  <a:lnTo>
                    <a:pt x="2800" y="1351"/>
                  </a:lnTo>
                  <a:lnTo>
                    <a:pt x="2800" y="951"/>
                  </a:lnTo>
                  <a:cubicBezTo>
                    <a:pt x="2800" y="896"/>
                    <a:pt x="2755" y="851"/>
                    <a:pt x="2700" y="851"/>
                  </a:cubicBezTo>
                  <a:lnTo>
                    <a:pt x="2603" y="851"/>
                  </a:lnTo>
                  <a:lnTo>
                    <a:pt x="3130" y="684"/>
                  </a:lnTo>
                  <a:cubicBezTo>
                    <a:pt x="3183" y="668"/>
                    <a:pt x="3212" y="611"/>
                    <a:pt x="3195" y="559"/>
                  </a:cubicBezTo>
                  <a:lnTo>
                    <a:pt x="3044" y="82"/>
                  </a:lnTo>
                  <a:cubicBezTo>
                    <a:pt x="3028" y="29"/>
                    <a:pt x="2972" y="0"/>
                    <a:pt x="2919" y="17"/>
                  </a:cubicBezTo>
                  <a:lnTo>
                    <a:pt x="2919" y="17"/>
                  </a:lnTo>
                  <a:lnTo>
                    <a:pt x="1775" y="379"/>
                  </a:lnTo>
                  <a:cubicBezTo>
                    <a:pt x="1722" y="396"/>
                    <a:pt x="1693" y="452"/>
                    <a:pt x="1710" y="504"/>
                  </a:cubicBezTo>
                  <a:lnTo>
                    <a:pt x="1819" y="851"/>
                  </a:lnTo>
                  <a:lnTo>
                    <a:pt x="1500" y="851"/>
                  </a:lnTo>
                  <a:cubicBezTo>
                    <a:pt x="1445" y="851"/>
                    <a:pt x="1400" y="896"/>
                    <a:pt x="1400" y="951"/>
                  </a:cubicBezTo>
                  <a:lnTo>
                    <a:pt x="1400" y="1451"/>
                  </a:lnTo>
                  <a:cubicBezTo>
                    <a:pt x="1401" y="1456"/>
                    <a:pt x="1402" y="1462"/>
                    <a:pt x="1403" y="1467"/>
                  </a:cubicBezTo>
                  <a:cubicBezTo>
                    <a:pt x="1145" y="1441"/>
                    <a:pt x="886" y="1506"/>
                    <a:pt x="671" y="1651"/>
                  </a:cubicBezTo>
                  <a:lnTo>
                    <a:pt x="100" y="1651"/>
                  </a:lnTo>
                  <a:cubicBezTo>
                    <a:pt x="45" y="1651"/>
                    <a:pt x="0" y="1696"/>
                    <a:pt x="0" y="1751"/>
                  </a:cubicBezTo>
                  <a:lnTo>
                    <a:pt x="0" y="3351"/>
                  </a:lnTo>
                  <a:cubicBezTo>
                    <a:pt x="0" y="3406"/>
                    <a:pt x="45" y="3451"/>
                    <a:pt x="100" y="3451"/>
                  </a:cubicBezTo>
                  <a:lnTo>
                    <a:pt x="2876" y="3451"/>
                  </a:lnTo>
                  <a:cubicBezTo>
                    <a:pt x="2977" y="3451"/>
                    <a:pt x="3076" y="3420"/>
                    <a:pt x="3159" y="3363"/>
                  </a:cubicBezTo>
                  <a:lnTo>
                    <a:pt x="4367" y="2532"/>
                  </a:lnTo>
                  <a:cubicBezTo>
                    <a:pt x="4465" y="2465"/>
                    <a:pt x="4530" y="2360"/>
                    <a:pt x="4547" y="2243"/>
                  </a:cubicBezTo>
                  <a:cubicBezTo>
                    <a:pt x="4582" y="2010"/>
                    <a:pt x="4421" y="1793"/>
                    <a:pt x="4188" y="1758"/>
                  </a:cubicBezTo>
                  <a:close/>
                  <a:moveTo>
                    <a:pt x="600" y="3251"/>
                  </a:moveTo>
                  <a:lnTo>
                    <a:pt x="200" y="3251"/>
                  </a:lnTo>
                  <a:lnTo>
                    <a:pt x="200" y="1851"/>
                  </a:lnTo>
                  <a:lnTo>
                    <a:pt x="600" y="1851"/>
                  </a:lnTo>
                  <a:lnTo>
                    <a:pt x="600" y="3251"/>
                  </a:lnTo>
                  <a:close/>
                  <a:moveTo>
                    <a:pt x="3200" y="1551"/>
                  </a:moveTo>
                  <a:lnTo>
                    <a:pt x="3200" y="1851"/>
                  </a:lnTo>
                  <a:lnTo>
                    <a:pt x="2200" y="1851"/>
                  </a:lnTo>
                  <a:lnTo>
                    <a:pt x="2200" y="1551"/>
                  </a:lnTo>
                  <a:lnTo>
                    <a:pt x="3200" y="1551"/>
                  </a:lnTo>
                  <a:close/>
                  <a:moveTo>
                    <a:pt x="2884" y="238"/>
                  </a:moveTo>
                  <a:lnTo>
                    <a:pt x="2975" y="524"/>
                  </a:lnTo>
                  <a:lnTo>
                    <a:pt x="2021" y="826"/>
                  </a:lnTo>
                  <a:lnTo>
                    <a:pt x="1931" y="540"/>
                  </a:lnTo>
                  <a:lnTo>
                    <a:pt x="2884" y="238"/>
                  </a:lnTo>
                  <a:close/>
                  <a:moveTo>
                    <a:pt x="1600" y="1051"/>
                  </a:moveTo>
                  <a:lnTo>
                    <a:pt x="2600" y="1051"/>
                  </a:lnTo>
                  <a:lnTo>
                    <a:pt x="2600" y="1351"/>
                  </a:lnTo>
                  <a:lnTo>
                    <a:pt x="1600" y="1351"/>
                  </a:lnTo>
                  <a:lnTo>
                    <a:pt x="1600" y="1051"/>
                  </a:lnTo>
                  <a:close/>
                  <a:moveTo>
                    <a:pt x="2000" y="1551"/>
                  </a:moveTo>
                  <a:lnTo>
                    <a:pt x="2000" y="1717"/>
                  </a:lnTo>
                  <a:cubicBezTo>
                    <a:pt x="1917" y="1649"/>
                    <a:pt x="1826" y="1593"/>
                    <a:pt x="1727" y="1551"/>
                  </a:cubicBezTo>
                  <a:lnTo>
                    <a:pt x="2000" y="1551"/>
                  </a:lnTo>
                  <a:close/>
                  <a:moveTo>
                    <a:pt x="4350" y="2214"/>
                  </a:moveTo>
                  <a:cubicBezTo>
                    <a:pt x="4341" y="2276"/>
                    <a:pt x="4306" y="2332"/>
                    <a:pt x="4254" y="2368"/>
                  </a:cubicBezTo>
                  <a:lnTo>
                    <a:pt x="3046" y="3198"/>
                  </a:lnTo>
                  <a:cubicBezTo>
                    <a:pt x="2996" y="3233"/>
                    <a:pt x="2936" y="3251"/>
                    <a:pt x="2876" y="3251"/>
                  </a:cubicBezTo>
                  <a:lnTo>
                    <a:pt x="800" y="3251"/>
                  </a:lnTo>
                  <a:lnTo>
                    <a:pt x="800" y="1805"/>
                  </a:lnTo>
                  <a:cubicBezTo>
                    <a:pt x="1161" y="1574"/>
                    <a:pt x="1635" y="1626"/>
                    <a:pt x="1938" y="1930"/>
                  </a:cubicBezTo>
                  <a:lnTo>
                    <a:pt x="2029" y="2022"/>
                  </a:lnTo>
                  <a:cubicBezTo>
                    <a:pt x="2048" y="2040"/>
                    <a:pt x="2073" y="2051"/>
                    <a:pt x="2100" y="2051"/>
                  </a:cubicBezTo>
                  <a:lnTo>
                    <a:pt x="2800" y="2051"/>
                  </a:lnTo>
                  <a:cubicBezTo>
                    <a:pt x="2910" y="2051"/>
                    <a:pt x="3000" y="2141"/>
                    <a:pt x="3000" y="2251"/>
                  </a:cubicBezTo>
                  <a:cubicBezTo>
                    <a:pt x="3000" y="2361"/>
                    <a:pt x="2910" y="2451"/>
                    <a:pt x="2800" y="2451"/>
                  </a:cubicBezTo>
                  <a:lnTo>
                    <a:pt x="1900" y="2451"/>
                  </a:lnTo>
                  <a:lnTo>
                    <a:pt x="1900" y="2651"/>
                  </a:lnTo>
                  <a:lnTo>
                    <a:pt x="2900" y="2651"/>
                  </a:lnTo>
                  <a:cubicBezTo>
                    <a:pt x="2918" y="2651"/>
                    <a:pt x="2937" y="2646"/>
                    <a:pt x="2952" y="2636"/>
                  </a:cubicBezTo>
                  <a:lnTo>
                    <a:pt x="4006" y="1987"/>
                  </a:lnTo>
                  <a:cubicBezTo>
                    <a:pt x="4104" y="1928"/>
                    <a:pt x="4231" y="1950"/>
                    <a:pt x="4302" y="2039"/>
                  </a:cubicBezTo>
                  <a:cubicBezTo>
                    <a:pt x="4342" y="2088"/>
                    <a:pt x="4359" y="2152"/>
                    <a:pt x="4350" y="2214"/>
                  </a:cubicBez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65" name="Freeform 171"/>
            <p:cNvSpPr>
              <a:spLocks noEditPoints="1"/>
            </p:cNvSpPr>
            <p:nvPr/>
          </p:nvSpPr>
          <p:spPr bwMode="auto">
            <a:xfrm>
              <a:off x="7335837" y="4418013"/>
              <a:ext cx="334963" cy="706437"/>
            </a:xfrm>
            <a:custGeom>
              <a:avLst/>
              <a:gdLst>
                <a:gd name="T0" fmla="*/ 2600 w 2600"/>
                <a:gd name="T1" fmla="*/ 2200 h 5500"/>
                <a:gd name="T2" fmla="*/ 2100 w 2600"/>
                <a:gd name="T3" fmla="*/ 2100 h 5500"/>
                <a:gd name="T4" fmla="*/ 1400 w 2600"/>
                <a:gd name="T5" fmla="*/ 1900 h 5500"/>
                <a:gd name="T6" fmla="*/ 2600 w 2600"/>
                <a:gd name="T7" fmla="*/ 1000 h 5500"/>
                <a:gd name="T8" fmla="*/ 2100 w 2600"/>
                <a:gd name="T9" fmla="*/ 900 h 5500"/>
                <a:gd name="T10" fmla="*/ 1400 w 2600"/>
                <a:gd name="T11" fmla="*/ 800 h 5500"/>
                <a:gd name="T12" fmla="*/ 2200 w 2600"/>
                <a:gd name="T13" fmla="*/ 100 h 5500"/>
                <a:gd name="T14" fmla="*/ 1900 w 2600"/>
                <a:gd name="T15" fmla="*/ 0 h 5500"/>
                <a:gd name="T16" fmla="*/ 700 w 2600"/>
                <a:gd name="T17" fmla="*/ 0 h 5500"/>
                <a:gd name="T18" fmla="*/ 400 w 2600"/>
                <a:gd name="T19" fmla="*/ 100 h 5500"/>
                <a:gd name="T20" fmla="*/ 1200 w 2600"/>
                <a:gd name="T21" fmla="*/ 800 h 5500"/>
                <a:gd name="T22" fmla="*/ 500 w 2600"/>
                <a:gd name="T23" fmla="*/ 900 h 5500"/>
                <a:gd name="T24" fmla="*/ 0 w 2600"/>
                <a:gd name="T25" fmla="*/ 1000 h 5500"/>
                <a:gd name="T26" fmla="*/ 1200 w 2600"/>
                <a:gd name="T27" fmla="*/ 1900 h 5500"/>
                <a:gd name="T28" fmla="*/ 500 w 2600"/>
                <a:gd name="T29" fmla="*/ 2100 h 5500"/>
                <a:gd name="T30" fmla="*/ 0 w 2600"/>
                <a:gd name="T31" fmla="*/ 2200 h 5500"/>
                <a:gd name="T32" fmla="*/ 1200 w 2600"/>
                <a:gd name="T33" fmla="*/ 3100 h 5500"/>
                <a:gd name="T34" fmla="*/ 200 w 2600"/>
                <a:gd name="T35" fmla="*/ 3300 h 5500"/>
                <a:gd name="T36" fmla="*/ 101 w 2600"/>
                <a:gd name="T37" fmla="*/ 3415 h 5500"/>
                <a:gd name="T38" fmla="*/ 419 w 2600"/>
                <a:gd name="T39" fmla="*/ 4185 h 5500"/>
                <a:gd name="T40" fmla="*/ 2284 w 2600"/>
                <a:gd name="T41" fmla="*/ 3500 h 5500"/>
                <a:gd name="T42" fmla="*/ 800 w 2600"/>
                <a:gd name="T43" fmla="*/ 5300 h 5500"/>
                <a:gd name="T44" fmla="*/ 2100 w 2600"/>
                <a:gd name="T45" fmla="*/ 5500 h 5500"/>
                <a:gd name="T46" fmla="*/ 2499 w 2600"/>
                <a:gd name="T47" fmla="*/ 3415 h 5500"/>
                <a:gd name="T48" fmla="*/ 2400 w 2600"/>
                <a:gd name="T49" fmla="*/ 3300 h 5500"/>
                <a:gd name="T50" fmla="*/ 1400 w 2600"/>
                <a:gd name="T51" fmla="*/ 3100 h 5500"/>
                <a:gd name="T52" fmla="*/ 2100 w 2600"/>
                <a:gd name="T53" fmla="*/ 2300 h 5500"/>
                <a:gd name="T54" fmla="*/ 1700 w 2600"/>
                <a:gd name="T55" fmla="*/ 2900 h 5500"/>
                <a:gd name="T56" fmla="*/ 2100 w 2600"/>
                <a:gd name="T57" fmla="*/ 2300 h 5500"/>
                <a:gd name="T58" fmla="*/ 2393 w 2600"/>
                <a:gd name="T59" fmla="*/ 1100 h 5500"/>
                <a:gd name="T60" fmla="*/ 1407 w 2600"/>
                <a:gd name="T61" fmla="*/ 1700 h 5500"/>
                <a:gd name="T62" fmla="*/ 1900 w 2600"/>
                <a:gd name="T63" fmla="*/ 200 h 5500"/>
                <a:gd name="T64" fmla="*/ 1500 w 2600"/>
                <a:gd name="T65" fmla="*/ 600 h 5500"/>
                <a:gd name="T66" fmla="*/ 1900 w 2600"/>
                <a:gd name="T67" fmla="*/ 200 h 5500"/>
                <a:gd name="T68" fmla="*/ 610 w 2600"/>
                <a:gd name="T69" fmla="*/ 200 h 5500"/>
                <a:gd name="T70" fmla="*/ 1190 w 2600"/>
                <a:gd name="T71" fmla="*/ 600 h 5500"/>
                <a:gd name="T72" fmla="*/ 900 w 2600"/>
                <a:gd name="T73" fmla="*/ 1700 h 5500"/>
                <a:gd name="T74" fmla="*/ 500 w 2600"/>
                <a:gd name="T75" fmla="*/ 1100 h 5500"/>
                <a:gd name="T76" fmla="*/ 900 w 2600"/>
                <a:gd name="T77" fmla="*/ 1700 h 5500"/>
                <a:gd name="T78" fmla="*/ 207 w 2600"/>
                <a:gd name="T79" fmla="*/ 2300 h 5500"/>
                <a:gd name="T80" fmla="*/ 1193 w 2600"/>
                <a:gd name="T81" fmla="*/ 2900 h 5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600" h="5500" extrusionOk="0">
                  <a:moveTo>
                    <a:pt x="1700" y="3100"/>
                  </a:moveTo>
                  <a:cubicBezTo>
                    <a:pt x="2197" y="3099"/>
                    <a:pt x="2599" y="2697"/>
                    <a:pt x="2600" y="2200"/>
                  </a:cubicBezTo>
                  <a:cubicBezTo>
                    <a:pt x="2600" y="2145"/>
                    <a:pt x="2555" y="2100"/>
                    <a:pt x="2500" y="2100"/>
                  </a:cubicBezTo>
                  <a:lnTo>
                    <a:pt x="2100" y="2100"/>
                  </a:lnTo>
                  <a:cubicBezTo>
                    <a:pt x="1828" y="2100"/>
                    <a:pt x="1571" y="2223"/>
                    <a:pt x="1400" y="2436"/>
                  </a:cubicBezTo>
                  <a:lnTo>
                    <a:pt x="1400" y="1900"/>
                  </a:lnTo>
                  <a:lnTo>
                    <a:pt x="1700" y="1900"/>
                  </a:lnTo>
                  <a:cubicBezTo>
                    <a:pt x="2197" y="1899"/>
                    <a:pt x="2599" y="1497"/>
                    <a:pt x="2600" y="1000"/>
                  </a:cubicBezTo>
                  <a:cubicBezTo>
                    <a:pt x="2600" y="945"/>
                    <a:pt x="2555" y="900"/>
                    <a:pt x="2500" y="900"/>
                  </a:cubicBezTo>
                  <a:lnTo>
                    <a:pt x="2100" y="900"/>
                  </a:lnTo>
                  <a:cubicBezTo>
                    <a:pt x="1828" y="900"/>
                    <a:pt x="1571" y="1023"/>
                    <a:pt x="1400" y="1236"/>
                  </a:cubicBezTo>
                  <a:lnTo>
                    <a:pt x="1400" y="800"/>
                  </a:lnTo>
                  <a:lnTo>
                    <a:pt x="1500" y="800"/>
                  </a:lnTo>
                  <a:cubicBezTo>
                    <a:pt x="1886" y="799"/>
                    <a:pt x="2200" y="486"/>
                    <a:pt x="2200" y="100"/>
                  </a:cubicBezTo>
                  <a:cubicBezTo>
                    <a:pt x="2200" y="45"/>
                    <a:pt x="2155" y="0"/>
                    <a:pt x="2100" y="0"/>
                  </a:cubicBezTo>
                  <a:lnTo>
                    <a:pt x="1900" y="0"/>
                  </a:lnTo>
                  <a:cubicBezTo>
                    <a:pt x="1654" y="0"/>
                    <a:pt x="1426" y="130"/>
                    <a:pt x="1300" y="341"/>
                  </a:cubicBezTo>
                  <a:cubicBezTo>
                    <a:pt x="1174" y="130"/>
                    <a:pt x="946" y="0"/>
                    <a:pt x="700" y="0"/>
                  </a:cubicBezTo>
                  <a:lnTo>
                    <a:pt x="500" y="0"/>
                  </a:lnTo>
                  <a:cubicBezTo>
                    <a:pt x="445" y="0"/>
                    <a:pt x="400" y="45"/>
                    <a:pt x="400" y="100"/>
                  </a:cubicBezTo>
                  <a:cubicBezTo>
                    <a:pt x="401" y="486"/>
                    <a:pt x="714" y="800"/>
                    <a:pt x="1100" y="800"/>
                  </a:cubicBezTo>
                  <a:lnTo>
                    <a:pt x="1200" y="800"/>
                  </a:lnTo>
                  <a:lnTo>
                    <a:pt x="1200" y="1236"/>
                  </a:lnTo>
                  <a:cubicBezTo>
                    <a:pt x="1030" y="1023"/>
                    <a:pt x="772" y="900"/>
                    <a:pt x="500" y="900"/>
                  </a:cubicBezTo>
                  <a:lnTo>
                    <a:pt x="100" y="900"/>
                  </a:lnTo>
                  <a:cubicBezTo>
                    <a:pt x="45" y="900"/>
                    <a:pt x="0" y="945"/>
                    <a:pt x="0" y="1000"/>
                  </a:cubicBezTo>
                  <a:cubicBezTo>
                    <a:pt x="1" y="1497"/>
                    <a:pt x="403" y="1899"/>
                    <a:pt x="900" y="1900"/>
                  </a:cubicBezTo>
                  <a:lnTo>
                    <a:pt x="1200" y="1900"/>
                  </a:lnTo>
                  <a:lnTo>
                    <a:pt x="1200" y="2436"/>
                  </a:lnTo>
                  <a:cubicBezTo>
                    <a:pt x="1030" y="2223"/>
                    <a:pt x="772" y="2100"/>
                    <a:pt x="500" y="2100"/>
                  </a:cubicBezTo>
                  <a:lnTo>
                    <a:pt x="100" y="2100"/>
                  </a:lnTo>
                  <a:cubicBezTo>
                    <a:pt x="45" y="2100"/>
                    <a:pt x="0" y="2145"/>
                    <a:pt x="0" y="2200"/>
                  </a:cubicBezTo>
                  <a:cubicBezTo>
                    <a:pt x="1" y="2697"/>
                    <a:pt x="403" y="3099"/>
                    <a:pt x="900" y="3100"/>
                  </a:cubicBezTo>
                  <a:lnTo>
                    <a:pt x="1200" y="3100"/>
                  </a:lnTo>
                  <a:lnTo>
                    <a:pt x="1200" y="3300"/>
                  </a:lnTo>
                  <a:lnTo>
                    <a:pt x="200" y="3300"/>
                  </a:lnTo>
                  <a:cubicBezTo>
                    <a:pt x="145" y="3300"/>
                    <a:pt x="100" y="3345"/>
                    <a:pt x="100" y="3400"/>
                  </a:cubicBezTo>
                  <a:cubicBezTo>
                    <a:pt x="100" y="3405"/>
                    <a:pt x="100" y="3410"/>
                    <a:pt x="101" y="3415"/>
                  </a:cubicBezTo>
                  <a:lnTo>
                    <a:pt x="221" y="4215"/>
                  </a:lnTo>
                  <a:lnTo>
                    <a:pt x="419" y="4185"/>
                  </a:lnTo>
                  <a:lnTo>
                    <a:pt x="316" y="3500"/>
                  </a:lnTo>
                  <a:lnTo>
                    <a:pt x="2284" y="3500"/>
                  </a:lnTo>
                  <a:lnTo>
                    <a:pt x="2014" y="5300"/>
                  </a:lnTo>
                  <a:lnTo>
                    <a:pt x="800" y="5300"/>
                  </a:lnTo>
                  <a:lnTo>
                    <a:pt x="800" y="5500"/>
                  </a:lnTo>
                  <a:lnTo>
                    <a:pt x="2100" y="5500"/>
                  </a:lnTo>
                  <a:cubicBezTo>
                    <a:pt x="2150" y="5500"/>
                    <a:pt x="2192" y="5464"/>
                    <a:pt x="2199" y="5415"/>
                  </a:cubicBezTo>
                  <a:lnTo>
                    <a:pt x="2499" y="3415"/>
                  </a:lnTo>
                  <a:cubicBezTo>
                    <a:pt x="2507" y="3360"/>
                    <a:pt x="2469" y="3309"/>
                    <a:pt x="2415" y="3301"/>
                  </a:cubicBezTo>
                  <a:cubicBezTo>
                    <a:pt x="2410" y="3300"/>
                    <a:pt x="2405" y="3300"/>
                    <a:pt x="2400" y="3300"/>
                  </a:cubicBezTo>
                  <a:lnTo>
                    <a:pt x="1400" y="3300"/>
                  </a:lnTo>
                  <a:lnTo>
                    <a:pt x="1400" y="3100"/>
                  </a:lnTo>
                  <a:lnTo>
                    <a:pt x="1700" y="3100"/>
                  </a:lnTo>
                  <a:close/>
                  <a:moveTo>
                    <a:pt x="2100" y="2300"/>
                  </a:moveTo>
                  <a:lnTo>
                    <a:pt x="2393" y="2300"/>
                  </a:lnTo>
                  <a:cubicBezTo>
                    <a:pt x="2343" y="2644"/>
                    <a:pt x="2048" y="2900"/>
                    <a:pt x="1700" y="2900"/>
                  </a:cubicBezTo>
                  <a:lnTo>
                    <a:pt x="1407" y="2900"/>
                  </a:lnTo>
                  <a:cubicBezTo>
                    <a:pt x="1457" y="2556"/>
                    <a:pt x="1752" y="2300"/>
                    <a:pt x="2100" y="2300"/>
                  </a:cubicBezTo>
                  <a:close/>
                  <a:moveTo>
                    <a:pt x="2100" y="1100"/>
                  </a:moveTo>
                  <a:lnTo>
                    <a:pt x="2393" y="1100"/>
                  </a:lnTo>
                  <a:cubicBezTo>
                    <a:pt x="2343" y="1444"/>
                    <a:pt x="2048" y="1700"/>
                    <a:pt x="1700" y="1700"/>
                  </a:cubicBezTo>
                  <a:lnTo>
                    <a:pt x="1407" y="1700"/>
                  </a:lnTo>
                  <a:cubicBezTo>
                    <a:pt x="1457" y="1356"/>
                    <a:pt x="1752" y="1100"/>
                    <a:pt x="2100" y="1100"/>
                  </a:cubicBezTo>
                  <a:close/>
                  <a:moveTo>
                    <a:pt x="1900" y="200"/>
                  </a:moveTo>
                  <a:lnTo>
                    <a:pt x="1990" y="200"/>
                  </a:lnTo>
                  <a:cubicBezTo>
                    <a:pt x="1942" y="433"/>
                    <a:pt x="1738" y="600"/>
                    <a:pt x="1500" y="600"/>
                  </a:cubicBezTo>
                  <a:lnTo>
                    <a:pt x="1410" y="600"/>
                  </a:lnTo>
                  <a:cubicBezTo>
                    <a:pt x="1458" y="367"/>
                    <a:pt x="1662" y="200"/>
                    <a:pt x="1900" y="200"/>
                  </a:cubicBezTo>
                  <a:close/>
                  <a:moveTo>
                    <a:pt x="1100" y="600"/>
                  </a:moveTo>
                  <a:cubicBezTo>
                    <a:pt x="862" y="600"/>
                    <a:pt x="658" y="433"/>
                    <a:pt x="610" y="200"/>
                  </a:cubicBezTo>
                  <a:lnTo>
                    <a:pt x="700" y="200"/>
                  </a:lnTo>
                  <a:cubicBezTo>
                    <a:pt x="938" y="200"/>
                    <a:pt x="1142" y="367"/>
                    <a:pt x="1190" y="600"/>
                  </a:cubicBezTo>
                  <a:lnTo>
                    <a:pt x="1100" y="600"/>
                  </a:lnTo>
                  <a:close/>
                  <a:moveTo>
                    <a:pt x="900" y="1700"/>
                  </a:moveTo>
                  <a:cubicBezTo>
                    <a:pt x="552" y="1700"/>
                    <a:pt x="257" y="1444"/>
                    <a:pt x="207" y="1100"/>
                  </a:cubicBezTo>
                  <a:lnTo>
                    <a:pt x="500" y="1100"/>
                  </a:lnTo>
                  <a:cubicBezTo>
                    <a:pt x="848" y="1100"/>
                    <a:pt x="1143" y="1356"/>
                    <a:pt x="1193" y="1700"/>
                  </a:cubicBezTo>
                  <a:lnTo>
                    <a:pt x="900" y="1700"/>
                  </a:lnTo>
                  <a:close/>
                  <a:moveTo>
                    <a:pt x="900" y="2900"/>
                  </a:moveTo>
                  <a:cubicBezTo>
                    <a:pt x="552" y="2900"/>
                    <a:pt x="257" y="2644"/>
                    <a:pt x="207" y="2300"/>
                  </a:cubicBezTo>
                  <a:lnTo>
                    <a:pt x="500" y="2300"/>
                  </a:lnTo>
                  <a:cubicBezTo>
                    <a:pt x="848" y="2300"/>
                    <a:pt x="1143" y="2556"/>
                    <a:pt x="1193" y="2900"/>
                  </a:cubicBezTo>
                  <a:lnTo>
                    <a:pt x="900" y="2900"/>
                  </a:ln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66" name="Freeform 172"/>
            <p:cNvSpPr>
              <a:spLocks noEditPoints="1"/>
            </p:cNvSpPr>
            <p:nvPr/>
          </p:nvSpPr>
          <p:spPr bwMode="auto">
            <a:xfrm>
              <a:off x="6962775" y="4660900"/>
              <a:ext cx="130175" cy="130175"/>
            </a:xfrm>
            <a:custGeom>
              <a:avLst/>
              <a:gdLst>
                <a:gd name="T0" fmla="*/ 1006 w 1016"/>
                <a:gd name="T1" fmla="*/ 491 h 1016"/>
                <a:gd name="T2" fmla="*/ 924 w 1016"/>
                <a:gd name="T3" fmla="*/ 409 h 1016"/>
                <a:gd name="T4" fmla="*/ 607 w 1016"/>
                <a:gd name="T5" fmla="*/ 92 h 1016"/>
                <a:gd name="T6" fmla="*/ 491 w 1016"/>
                <a:gd name="T7" fmla="*/ 10 h 1016"/>
                <a:gd name="T8" fmla="*/ 409 w 1016"/>
                <a:gd name="T9" fmla="*/ 92 h 1016"/>
                <a:gd name="T10" fmla="*/ 92 w 1016"/>
                <a:gd name="T11" fmla="*/ 409 h 1016"/>
                <a:gd name="T12" fmla="*/ 10 w 1016"/>
                <a:gd name="T13" fmla="*/ 525 h 1016"/>
                <a:gd name="T14" fmla="*/ 92 w 1016"/>
                <a:gd name="T15" fmla="*/ 607 h 1016"/>
                <a:gd name="T16" fmla="*/ 409 w 1016"/>
                <a:gd name="T17" fmla="*/ 924 h 1016"/>
                <a:gd name="T18" fmla="*/ 525 w 1016"/>
                <a:gd name="T19" fmla="*/ 1006 h 1016"/>
                <a:gd name="T20" fmla="*/ 607 w 1016"/>
                <a:gd name="T21" fmla="*/ 924 h 1016"/>
                <a:gd name="T22" fmla="*/ 924 w 1016"/>
                <a:gd name="T23" fmla="*/ 607 h 1016"/>
                <a:gd name="T24" fmla="*/ 1006 w 1016"/>
                <a:gd name="T25" fmla="*/ 491 h 1016"/>
                <a:gd name="T26" fmla="*/ 508 w 1016"/>
                <a:gd name="T27" fmla="*/ 651 h 1016"/>
                <a:gd name="T28" fmla="*/ 365 w 1016"/>
                <a:gd name="T29" fmla="*/ 508 h 1016"/>
                <a:gd name="T30" fmla="*/ 508 w 1016"/>
                <a:gd name="T31" fmla="*/ 365 h 1016"/>
                <a:gd name="T32" fmla="*/ 651 w 1016"/>
                <a:gd name="T33" fmla="*/ 508 h 1016"/>
                <a:gd name="T34" fmla="*/ 508 w 1016"/>
                <a:gd name="T35" fmla="*/ 651 h 1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16" h="1016" extrusionOk="0">
                  <a:moveTo>
                    <a:pt x="1006" y="491"/>
                  </a:moveTo>
                  <a:cubicBezTo>
                    <a:pt x="999" y="449"/>
                    <a:pt x="966" y="417"/>
                    <a:pt x="924" y="409"/>
                  </a:cubicBezTo>
                  <a:cubicBezTo>
                    <a:pt x="761" y="382"/>
                    <a:pt x="634" y="255"/>
                    <a:pt x="607" y="92"/>
                  </a:cubicBezTo>
                  <a:cubicBezTo>
                    <a:pt x="597" y="37"/>
                    <a:pt x="546" y="0"/>
                    <a:pt x="491" y="10"/>
                  </a:cubicBezTo>
                  <a:cubicBezTo>
                    <a:pt x="449" y="17"/>
                    <a:pt x="417" y="50"/>
                    <a:pt x="409" y="92"/>
                  </a:cubicBezTo>
                  <a:cubicBezTo>
                    <a:pt x="382" y="255"/>
                    <a:pt x="255" y="382"/>
                    <a:pt x="92" y="409"/>
                  </a:cubicBezTo>
                  <a:cubicBezTo>
                    <a:pt x="37" y="419"/>
                    <a:pt x="0" y="470"/>
                    <a:pt x="10" y="525"/>
                  </a:cubicBezTo>
                  <a:cubicBezTo>
                    <a:pt x="17" y="567"/>
                    <a:pt x="50" y="600"/>
                    <a:pt x="92" y="607"/>
                  </a:cubicBezTo>
                  <a:cubicBezTo>
                    <a:pt x="255" y="634"/>
                    <a:pt x="382" y="761"/>
                    <a:pt x="409" y="924"/>
                  </a:cubicBezTo>
                  <a:cubicBezTo>
                    <a:pt x="419" y="979"/>
                    <a:pt x="470" y="1016"/>
                    <a:pt x="525" y="1006"/>
                  </a:cubicBezTo>
                  <a:cubicBezTo>
                    <a:pt x="567" y="999"/>
                    <a:pt x="600" y="966"/>
                    <a:pt x="607" y="924"/>
                  </a:cubicBezTo>
                  <a:cubicBezTo>
                    <a:pt x="634" y="761"/>
                    <a:pt x="761" y="634"/>
                    <a:pt x="924" y="607"/>
                  </a:cubicBezTo>
                  <a:cubicBezTo>
                    <a:pt x="979" y="597"/>
                    <a:pt x="1016" y="546"/>
                    <a:pt x="1006" y="491"/>
                  </a:cubicBezTo>
                  <a:close/>
                  <a:moveTo>
                    <a:pt x="508" y="651"/>
                  </a:moveTo>
                  <a:cubicBezTo>
                    <a:pt x="469" y="595"/>
                    <a:pt x="421" y="547"/>
                    <a:pt x="365" y="508"/>
                  </a:cubicBezTo>
                  <a:cubicBezTo>
                    <a:pt x="421" y="469"/>
                    <a:pt x="469" y="421"/>
                    <a:pt x="508" y="365"/>
                  </a:cubicBezTo>
                  <a:cubicBezTo>
                    <a:pt x="547" y="421"/>
                    <a:pt x="595" y="469"/>
                    <a:pt x="651" y="508"/>
                  </a:cubicBezTo>
                  <a:cubicBezTo>
                    <a:pt x="595" y="547"/>
                    <a:pt x="547" y="595"/>
                    <a:pt x="508" y="651"/>
                  </a:cubicBez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67" name="Freeform 173"/>
            <p:cNvSpPr>
              <a:spLocks noEditPoints="1"/>
            </p:cNvSpPr>
            <p:nvPr/>
          </p:nvSpPr>
          <p:spPr bwMode="auto">
            <a:xfrm>
              <a:off x="7091363" y="4443413"/>
              <a:ext cx="206375" cy="206375"/>
            </a:xfrm>
            <a:custGeom>
              <a:avLst/>
              <a:gdLst>
                <a:gd name="T0" fmla="*/ 800 w 1600"/>
                <a:gd name="T1" fmla="*/ 0 h 1600"/>
                <a:gd name="T2" fmla="*/ 0 w 1600"/>
                <a:gd name="T3" fmla="*/ 800 h 1600"/>
                <a:gd name="T4" fmla="*/ 800 w 1600"/>
                <a:gd name="T5" fmla="*/ 1600 h 1600"/>
                <a:gd name="T6" fmla="*/ 1600 w 1600"/>
                <a:gd name="T7" fmla="*/ 800 h 1600"/>
                <a:gd name="T8" fmla="*/ 800 w 1600"/>
                <a:gd name="T9" fmla="*/ 0 h 1600"/>
                <a:gd name="T10" fmla="*/ 800 w 1600"/>
                <a:gd name="T11" fmla="*/ 1400 h 1600"/>
                <a:gd name="T12" fmla="*/ 200 w 1600"/>
                <a:gd name="T13" fmla="*/ 800 h 1600"/>
                <a:gd name="T14" fmla="*/ 800 w 1600"/>
                <a:gd name="T15" fmla="*/ 200 h 1600"/>
                <a:gd name="T16" fmla="*/ 1400 w 1600"/>
                <a:gd name="T17" fmla="*/ 800 h 1600"/>
                <a:gd name="T18" fmla="*/ 800 w 1600"/>
                <a:gd name="T19" fmla="*/ 1400 h 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00" h="1600" extrusionOk="0">
                  <a:moveTo>
                    <a:pt x="800" y="0"/>
                  </a:moveTo>
                  <a:cubicBezTo>
                    <a:pt x="358" y="0"/>
                    <a:pt x="0" y="358"/>
                    <a:pt x="0" y="800"/>
                  </a:cubicBezTo>
                  <a:cubicBezTo>
                    <a:pt x="1" y="1242"/>
                    <a:pt x="358" y="1600"/>
                    <a:pt x="800" y="1600"/>
                  </a:cubicBezTo>
                  <a:cubicBezTo>
                    <a:pt x="1242" y="1600"/>
                    <a:pt x="1600" y="1242"/>
                    <a:pt x="1600" y="800"/>
                  </a:cubicBezTo>
                  <a:cubicBezTo>
                    <a:pt x="1600" y="358"/>
                    <a:pt x="1242" y="0"/>
                    <a:pt x="800" y="0"/>
                  </a:cubicBezTo>
                  <a:close/>
                  <a:moveTo>
                    <a:pt x="800" y="1400"/>
                  </a:moveTo>
                  <a:cubicBezTo>
                    <a:pt x="469" y="1400"/>
                    <a:pt x="200" y="1131"/>
                    <a:pt x="200" y="800"/>
                  </a:cubicBezTo>
                  <a:cubicBezTo>
                    <a:pt x="200" y="469"/>
                    <a:pt x="469" y="200"/>
                    <a:pt x="800" y="200"/>
                  </a:cubicBezTo>
                  <a:cubicBezTo>
                    <a:pt x="1131" y="200"/>
                    <a:pt x="1400" y="469"/>
                    <a:pt x="1400" y="800"/>
                  </a:cubicBezTo>
                  <a:cubicBezTo>
                    <a:pt x="1400" y="1131"/>
                    <a:pt x="1131" y="1400"/>
                    <a:pt x="800" y="1400"/>
                  </a:cubicBez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68" name="Freeform 174"/>
            <p:cNvSpPr/>
            <p:nvPr/>
          </p:nvSpPr>
          <p:spPr bwMode="auto">
            <a:xfrm>
              <a:off x="7143750" y="4495800"/>
              <a:ext cx="50800" cy="50800"/>
            </a:xfrm>
            <a:custGeom>
              <a:avLst/>
              <a:gdLst>
                <a:gd name="T0" fmla="*/ 0 w 400"/>
                <a:gd name="T1" fmla="*/ 400 h 400"/>
                <a:gd name="T2" fmla="*/ 200 w 400"/>
                <a:gd name="T3" fmla="*/ 400 h 400"/>
                <a:gd name="T4" fmla="*/ 400 w 400"/>
                <a:gd name="T5" fmla="*/ 200 h 400"/>
                <a:gd name="T6" fmla="*/ 400 w 400"/>
                <a:gd name="T7" fmla="*/ 0 h 400"/>
                <a:gd name="T8" fmla="*/ 0 w 400"/>
                <a:gd name="T9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0" h="400" extrusionOk="0">
                  <a:moveTo>
                    <a:pt x="0" y="400"/>
                  </a:moveTo>
                  <a:lnTo>
                    <a:pt x="200" y="400"/>
                  </a:lnTo>
                  <a:cubicBezTo>
                    <a:pt x="200" y="290"/>
                    <a:pt x="290" y="200"/>
                    <a:pt x="400" y="200"/>
                  </a:cubicBezTo>
                  <a:lnTo>
                    <a:pt x="400" y="0"/>
                  </a:lnTo>
                  <a:cubicBezTo>
                    <a:pt x="179" y="0"/>
                    <a:pt x="0" y="179"/>
                    <a:pt x="0" y="400"/>
                  </a:cubicBez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69" name="Freeform 175"/>
            <p:cNvSpPr/>
            <p:nvPr/>
          </p:nvSpPr>
          <p:spPr bwMode="auto">
            <a:xfrm>
              <a:off x="7194549" y="4546600"/>
              <a:ext cx="52388" cy="50800"/>
            </a:xfrm>
            <a:custGeom>
              <a:avLst/>
              <a:gdLst>
                <a:gd name="T0" fmla="*/ 200 w 400"/>
                <a:gd name="T1" fmla="*/ 0 h 400"/>
                <a:gd name="T2" fmla="*/ 0 w 400"/>
                <a:gd name="T3" fmla="*/ 200 h 400"/>
                <a:gd name="T4" fmla="*/ 0 w 400"/>
                <a:gd name="T5" fmla="*/ 400 h 400"/>
                <a:gd name="T6" fmla="*/ 400 w 400"/>
                <a:gd name="T7" fmla="*/ 0 h 400"/>
                <a:gd name="T8" fmla="*/ 200 w 400"/>
                <a:gd name="T9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0" h="400" extrusionOk="0">
                  <a:moveTo>
                    <a:pt x="200" y="0"/>
                  </a:moveTo>
                  <a:cubicBezTo>
                    <a:pt x="200" y="110"/>
                    <a:pt x="110" y="200"/>
                    <a:pt x="0" y="200"/>
                  </a:cubicBezTo>
                  <a:lnTo>
                    <a:pt x="0" y="400"/>
                  </a:lnTo>
                  <a:cubicBezTo>
                    <a:pt x="221" y="400"/>
                    <a:pt x="400" y="221"/>
                    <a:pt x="400" y="0"/>
                  </a:cubicBezTo>
                  <a:lnTo>
                    <a:pt x="200" y="0"/>
                  </a:ln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</p:grpSp>
      <p:grpSp>
        <p:nvGrpSpPr>
          <p:cNvPr id="70" name="Group 46"/>
          <p:cNvGrpSpPr/>
          <p:nvPr/>
        </p:nvGrpSpPr>
        <p:grpSpPr bwMode="auto">
          <a:xfrm>
            <a:off x="781085" y="4430238"/>
            <a:ext cx="467718" cy="467724"/>
            <a:chOff x="1682750" y="1214438"/>
            <a:chExt cx="576263" cy="576262"/>
          </a:xfrm>
          <a:solidFill>
            <a:schemeClr val="tx1"/>
          </a:solidFill>
        </p:grpSpPr>
        <p:sp>
          <p:nvSpPr>
            <p:cNvPr id="71" name="Freeform 5"/>
            <p:cNvSpPr>
              <a:spLocks noEditPoints="1"/>
            </p:cNvSpPr>
            <p:nvPr/>
          </p:nvSpPr>
          <p:spPr bwMode="auto">
            <a:xfrm>
              <a:off x="1962150" y="1214438"/>
              <a:ext cx="296863" cy="576262"/>
            </a:xfrm>
            <a:custGeom>
              <a:avLst/>
              <a:gdLst>
                <a:gd name="T0" fmla="*/ 667 w 4267"/>
                <a:gd name="T1" fmla="*/ 0 h 8267"/>
                <a:gd name="T2" fmla="*/ 0 w 4267"/>
                <a:gd name="T3" fmla="*/ 6533 h 8267"/>
                <a:gd name="T4" fmla="*/ 1243 w 4267"/>
                <a:gd name="T5" fmla="*/ 7200 h 8267"/>
                <a:gd name="T6" fmla="*/ 1600 w 4267"/>
                <a:gd name="T7" fmla="*/ 7787 h 8267"/>
                <a:gd name="T8" fmla="*/ 3733 w 4267"/>
                <a:gd name="T9" fmla="*/ 8267 h 8267"/>
                <a:gd name="T10" fmla="*/ 3821 w 4267"/>
                <a:gd name="T11" fmla="*/ 7537 h 8267"/>
                <a:gd name="T12" fmla="*/ 4267 w 4267"/>
                <a:gd name="T13" fmla="*/ 6746 h 8267"/>
                <a:gd name="T14" fmla="*/ 3600 w 4267"/>
                <a:gd name="T15" fmla="*/ 0 h 8267"/>
                <a:gd name="T16" fmla="*/ 2800 w 4267"/>
                <a:gd name="T17" fmla="*/ 4000 h 8267"/>
                <a:gd name="T18" fmla="*/ 2667 w 4267"/>
                <a:gd name="T19" fmla="*/ 3733 h 8267"/>
                <a:gd name="T20" fmla="*/ 3200 w 4267"/>
                <a:gd name="T21" fmla="*/ 2133 h 8267"/>
                <a:gd name="T22" fmla="*/ 1067 w 4267"/>
                <a:gd name="T23" fmla="*/ 3733 h 8267"/>
                <a:gd name="T24" fmla="*/ 1867 w 4267"/>
                <a:gd name="T25" fmla="*/ 6211 h 8267"/>
                <a:gd name="T26" fmla="*/ 1641 w 4267"/>
                <a:gd name="T27" fmla="*/ 5148 h 8267"/>
                <a:gd name="T28" fmla="*/ 800 w 4267"/>
                <a:gd name="T29" fmla="*/ 5224 h 8267"/>
                <a:gd name="T30" fmla="*/ 3467 w 4267"/>
                <a:gd name="T31" fmla="*/ 1867 h 8267"/>
                <a:gd name="T32" fmla="*/ 3333 w 4267"/>
                <a:gd name="T33" fmla="*/ 4267 h 8267"/>
                <a:gd name="T34" fmla="*/ 1867 w 4267"/>
                <a:gd name="T35" fmla="*/ 3333 h 8267"/>
                <a:gd name="T36" fmla="*/ 1333 w 4267"/>
                <a:gd name="T37" fmla="*/ 3467 h 8267"/>
                <a:gd name="T38" fmla="*/ 2933 w 4267"/>
                <a:gd name="T39" fmla="*/ 2400 h 8267"/>
                <a:gd name="T40" fmla="*/ 2667 w 4267"/>
                <a:gd name="T41" fmla="*/ 3467 h 8267"/>
                <a:gd name="T42" fmla="*/ 2267 w 4267"/>
                <a:gd name="T43" fmla="*/ 2933 h 8267"/>
                <a:gd name="T44" fmla="*/ 802 w 4267"/>
                <a:gd name="T45" fmla="*/ 5333 h 8267"/>
                <a:gd name="T46" fmla="*/ 800 w 4267"/>
                <a:gd name="T47" fmla="*/ 5309 h 8267"/>
                <a:gd name="T48" fmla="*/ 533 w 4267"/>
                <a:gd name="T49" fmla="*/ 1600 h 8267"/>
                <a:gd name="T50" fmla="*/ 843 w 4267"/>
                <a:gd name="T51" fmla="*/ 5600 h 8267"/>
                <a:gd name="T52" fmla="*/ 267 w 4267"/>
                <a:gd name="T53" fmla="*/ 5867 h 8267"/>
                <a:gd name="T54" fmla="*/ 4000 w 4267"/>
                <a:gd name="T55" fmla="*/ 1333 h 8267"/>
                <a:gd name="T56" fmla="*/ 3867 w 4267"/>
                <a:gd name="T57" fmla="*/ 4533 h 8267"/>
                <a:gd name="T58" fmla="*/ 3733 w 4267"/>
                <a:gd name="T59" fmla="*/ 1600 h 8267"/>
                <a:gd name="T60" fmla="*/ 667 w 4267"/>
                <a:gd name="T61" fmla="*/ 267 h 8267"/>
                <a:gd name="T62" fmla="*/ 4000 w 4267"/>
                <a:gd name="T63" fmla="*/ 667 h 8267"/>
                <a:gd name="T64" fmla="*/ 267 w 4267"/>
                <a:gd name="T65" fmla="*/ 1067 h 8267"/>
                <a:gd name="T66" fmla="*/ 667 w 4267"/>
                <a:gd name="T67" fmla="*/ 267 h 8267"/>
                <a:gd name="T68" fmla="*/ 267 w 4267"/>
                <a:gd name="T69" fmla="*/ 6133 h 8267"/>
                <a:gd name="T70" fmla="*/ 1046 w 4267"/>
                <a:gd name="T71" fmla="*/ 6818 h 8267"/>
                <a:gd name="T72" fmla="*/ 667 w 4267"/>
                <a:gd name="T73" fmla="*/ 6933 h 8267"/>
                <a:gd name="T74" fmla="*/ 4000 w 4267"/>
                <a:gd name="T75" fmla="*/ 6746 h 8267"/>
                <a:gd name="T76" fmla="*/ 3613 w 4267"/>
                <a:gd name="T77" fmla="*/ 7371 h 8267"/>
                <a:gd name="T78" fmla="*/ 3467 w 4267"/>
                <a:gd name="T79" fmla="*/ 8000 h 8267"/>
                <a:gd name="T80" fmla="*/ 1867 w 4267"/>
                <a:gd name="T81" fmla="*/ 7787 h 8267"/>
                <a:gd name="T82" fmla="*/ 1391 w 4267"/>
                <a:gd name="T83" fmla="*/ 6958 h 8267"/>
                <a:gd name="T84" fmla="*/ 1069 w 4267"/>
                <a:gd name="T85" fmla="*/ 5335 h 8267"/>
                <a:gd name="T86" fmla="*/ 1067 w 4267"/>
                <a:gd name="T87" fmla="*/ 5224 h 8267"/>
                <a:gd name="T88" fmla="*/ 1379 w 4267"/>
                <a:gd name="T89" fmla="*/ 5196 h 8267"/>
                <a:gd name="T90" fmla="*/ 2000 w 4267"/>
                <a:gd name="T91" fmla="*/ 6533 h 8267"/>
                <a:gd name="T92" fmla="*/ 2133 w 4267"/>
                <a:gd name="T93" fmla="*/ 3333 h 8267"/>
                <a:gd name="T94" fmla="*/ 2400 w 4267"/>
                <a:gd name="T95" fmla="*/ 3333 h 8267"/>
                <a:gd name="T96" fmla="*/ 2667 w 4267"/>
                <a:gd name="T97" fmla="*/ 6267 h 8267"/>
                <a:gd name="T98" fmla="*/ 2800 w 4267"/>
                <a:gd name="T99" fmla="*/ 4267 h 8267"/>
                <a:gd name="T100" fmla="*/ 2933 w 4267"/>
                <a:gd name="T101" fmla="*/ 6267 h 8267"/>
                <a:gd name="T102" fmla="*/ 3200 w 4267"/>
                <a:gd name="T103" fmla="*/ 4667 h 8267"/>
                <a:gd name="T104" fmla="*/ 3467 w 4267"/>
                <a:gd name="T105" fmla="*/ 4667 h 8267"/>
                <a:gd name="T106" fmla="*/ 3733 w 4267"/>
                <a:gd name="T107" fmla="*/ 6267 h 8267"/>
                <a:gd name="T108" fmla="*/ 3867 w 4267"/>
                <a:gd name="T109" fmla="*/ 4800 h 8267"/>
                <a:gd name="T110" fmla="*/ 4000 w 4267"/>
                <a:gd name="T111" fmla="*/ 6746 h 8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267" h="8267" extrusionOk="0">
                  <a:moveTo>
                    <a:pt x="3600" y="0"/>
                  </a:moveTo>
                  <a:lnTo>
                    <a:pt x="667" y="0"/>
                  </a:lnTo>
                  <a:cubicBezTo>
                    <a:pt x="299" y="0"/>
                    <a:pt x="0" y="299"/>
                    <a:pt x="0" y="667"/>
                  </a:cubicBezTo>
                  <a:lnTo>
                    <a:pt x="0" y="6533"/>
                  </a:lnTo>
                  <a:cubicBezTo>
                    <a:pt x="0" y="6901"/>
                    <a:pt x="299" y="7200"/>
                    <a:pt x="667" y="7200"/>
                  </a:cubicBezTo>
                  <a:lnTo>
                    <a:pt x="1243" y="7200"/>
                  </a:lnTo>
                  <a:lnTo>
                    <a:pt x="1512" y="7537"/>
                  </a:lnTo>
                  <a:cubicBezTo>
                    <a:pt x="1569" y="7608"/>
                    <a:pt x="1600" y="7697"/>
                    <a:pt x="1600" y="7787"/>
                  </a:cubicBezTo>
                  <a:lnTo>
                    <a:pt x="1600" y="8267"/>
                  </a:lnTo>
                  <a:lnTo>
                    <a:pt x="3733" y="8267"/>
                  </a:lnTo>
                  <a:lnTo>
                    <a:pt x="3733" y="7787"/>
                  </a:lnTo>
                  <a:cubicBezTo>
                    <a:pt x="3733" y="7697"/>
                    <a:pt x="3764" y="7608"/>
                    <a:pt x="3821" y="7537"/>
                  </a:cubicBezTo>
                  <a:lnTo>
                    <a:pt x="4120" y="7163"/>
                  </a:lnTo>
                  <a:cubicBezTo>
                    <a:pt x="4215" y="7045"/>
                    <a:pt x="4267" y="6897"/>
                    <a:pt x="4267" y="6746"/>
                  </a:cubicBezTo>
                  <a:lnTo>
                    <a:pt x="4267" y="667"/>
                  </a:lnTo>
                  <a:cubicBezTo>
                    <a:pt x="4267" y="299"/>
                    <a:pt x="3968" y="0"/>
                    <a:pt x="3600" y="0"/>
                  </a:cubicBezTo>
                  <a:close/>
                  <a:moveTo>
                    <a:pt x="3184" y="4296"/>
                  </a:moveTo>
                  <a:cubicBezTo>
                    <a:pt x="3139" y="4126"/>
                    <a:pt x="2984" y="4000"/>
                    <a:pt x="2800" y="4000"/>
                  </a:cubicBezTo>
                  <a:cubicBezTo>
                    <a:pt x="2753" y="4000"/>
                    <a:pt x="2709" y="4010"/>
                    <a:pt x="2667" y="4025"/>
                  </a:cubicBezTo>
                  <a:lnTo>
                    <a:pt x="2667" y="3733"/>
                  </a:lnTo>
                  <a:lnTo>
                    <a:pt x="3200" y="3733"/>
                  </a:lnTo>
                  <a:lnTo>
                    <a:pt x="3200" y="2133"/>
                  </a:lnTo>
                  <a:lnTo>
                    <a:pt x="1067" y="2133"/>
                  </a:lnTo>
                  <a:lnTo>
                    <a:pt x="1067" y="3733"/>
                  </a:lnTo>
                  <a:lnTo>
                    <a:pt x="1867" y="3733"/>
                  </a:lnTo>
                  <a:lnTo>
                    <a:pt x="1867" y="6211"/>
                  </a:lnTo>
                  <a:cubicBezTo>
                    <a:pt x="1841" y="6185"/>
                    <a:pt x="1824" y="6152"/>
                    <a:pt x="1817" y="6114"/>
                  </a:cubicBezTo>
                  <a:lnTo>
                    <a:pt x="1641" y="5148"/>
                  </a:lnTo>
                  <a:cubicBezTo>
                    <a:pt x="1605" y="4947"/>
                    <a:pt x="1429" y="4800"/>
                    <a:pt x="1224" y="4800"/>
                  </a:cubicBezTo>
                  <a:cubicBezTo>
                    <a:pt x="990" y="4800"/>
                    <a:pt x="800" y="4990"/>
                    <a:pt x="800" y="5224"/>
                  </a:cubicBezTo>
                  <a:lnTo>
                    <a:pt x="800" y="1867"/>
                  </a:lnTo>
                  <a:lnTo>
                    <a:pt x="3467" y="1867"/>
                  </a:lnTo>
                  <a:lnTo>
                    <a:pt x="3467" y="4291"/>
                  </a:lnTo>
                  <a:cubicBezTo>
                    <a:pt x="3425" y="4276"/>
                    <a:pt x="3380" y="4267"/>
                    <a:pt x="3333" y="4267"/>
                  </a:cubicBezTo>
                  <a:cubicBezTo>
                    <a:pt x="3281" y="4267"/>
                    <a:pt x="3231" y="4277"/>
                    <a:pt x="3184" y="4296"/>
                  </a:cubicBezTo>
                  <a:close/>
                  <a:moveTo>
                    <a:pt x="1867" y="3333"/>
                  </a:moveTo>
                  <a:lnTo>
                    <a:pt x="1867" y="3467"/>
                  </a:lnTo>
                  <a:lnTo>
                    <a:pt x="1333" y="3467"/>
                  </a:lnTo>
                  <a:lnTo>
                    <a:pt x="1333" y="2400"/>
                  </a:lnTo>
                  <a:lnTo>
                    <a:pt x="2933" y="2400"/>
                  </a:lnTo>
                  <a:lnTo>
                    <a:pt x="2933" y="3467"/>
                  </a:lnTo>
                  <a:lnTo>
                    <a:pt x="2667" y="3467"/>
                  </a:lnTo>
                  <a:lnTo>
                    <a:pt x="2667" y="3333"/>
                  </a:lnTo>
                  <a:cubicBezTo>
                    <a:pt x="2667" y="3113"/>
                    <a:pt x="2487" y="2933"/>
                    <a:pt x="2267" y="2933"/>
                  </a:cubicBezTo>
                  <a:cubicBezTo>
                    <a:pt x="2046" y="2933"/>
                    <a:pt x="1867" y="3113"/>
                    <a:pt x="1867" y="3333"/>
                  </a:cubicBezTo>
                  <a:close/>
                  <a:moveTo>
                    <a:pt x="802" y="5333"/>
                  </a:moveTo>
                  <a:lnTo>
                    <a:pt x="800" y="5333"/>
                  </a:lnTo>
                  <a:lnTo>
                    <a:pt x="800" y="5309"/>
                  </a:lnTo>
                  <a:cubicBezTo>
                    <a:pt x="800" y="5317"/>
                    <a:pt x="802" y="5325"/>
                    <a:pt x="802" y="5333"/>
                  </a:cubicBezTo>
                  <a:close/>
                  <a:moveTo>
                    <a:pt x="533" y="1600"/>
                  </a:moveTo>
                  <a:lnTo>
                    <a:pt x="533" y="5600"/>
                  </a:lnTo>
                  <a:lnTo>
                    <a:pt x="843" y="5600"/>
                  </a:lnTo>
                  <a:lnTo>
                    <a:pt x="887" y="5867"/>
                  </a:lnTo>
                  <a:lnTo>
                    <a:pt x="267" y="5867"/>
                  </a:lnTo>
                  <a:lnTo>
                    <a:pt x="267" y="1333"/>
                  </a:lnTo>
                  <a:lnTo>
                    <a:pt x="4000" y="1333"/>
                  </a:lnTo>
                  <a:lnTo>
                    <a:pt x="4000" y="4558"/>
                  </a:lnTo>
                  <a:cubicBezTo>
                    <a:pt x="3958" y="4543"/>
                    <a:pt x="3914" y="4533"/>
                    <a:pt x="3867" y="4533"/>
                  </a:cubicBezTo>
                  <a:cubicBezTo>
                    <a:pt x="3820" y="4533"/>
                    <a:pt x="3775" y="4543"/>
                    <a:pt x="3733" y="4558"/>
                  </a:cubicBezTo>
                  <a:lnTo>
                    <a:pt x="3733" y="1600"/>
                  </a:lnTo>
                  <a:lnTo>
                    <a:pt x="533" y="1600"/>
                  </a:lnTo>
                  <a:close/>
                  <a:moveTo>
                    <a:pt x="667" y="267"/>
                  </a:moveTo>
                  <a:lnTo>
                    <a:pt x="3600" y="267"/>
                  </a:lnTo>
                  <a:cubicBezTo>
                    <a:pt x="3820" y="267"/>
                    <a:pt x="4000" y="446"/>
                    <a:pt x="4000" y="667"/>
                  </a:cubicBezTo>
                  <a:lnTo>
                    <a:pt x="4000" y="1067"/>
                  </a:lnTo>
                  <a:lnTo>
                    <a:pt x="267" y="1067"/>
                  </a:lnTo>
                  <a:lnTo>
                    <a:pt x="267" y="667"/>
                  </a:lnTo>
                  <a:cubicBezTo>
                    <a:pt x="267" y="446"/>
                    <a:pt x="446" y="267"/>
                    <a:pt x="667" y="267"/>
                  </a:cubicBezTo>
                  <a:close/>
                  <a:moveTo>
                    <a:pt x="267" y="6533"/>
                  </a:moveTo>
                  <a:lnTo>
                    <a:pt x="267" y="6133"/>
                  </a:lnTo>
                  <a:lnTo>
                    <a:pt x="931" y="6133"/>
                  </a:lnTo>
                  <a:lnTo>
                    <a:pt x="1046" y="6818"/>
                  </a:lnTo>
                  <a:cubicBezTo>
                    <a:pt x="1052" y="6858"/>
                    <a:pt x="1063" y="6896"/>
                    <a:pt x="1077" y="6933"/>
                  </a:cubicBezTo>
                  <a:lnTo>
                    <a:pt x="667" y="6933"/>
                  </a:lnTo>
                  <a:cubicBezTo>
                    <a:pt x="446" y="6933"/>
                    <a:pt x="267" y="6754"/>
                    <a:pt x="267" y="6533"/>
                  </a:cubicBezTo>
                  <a:close/>
                  <a:moveTo>
                    <a:pt x="4000" y="6746"/>
                  </a:moveTo>
                  <a:cubicBezTo>
                    <a:pt x="4000" y="6837"/>
                    <a:pt x="3969" y="6925"/>
                    <a:pt x="3912" y="6996"/>
                  </a:cubicBezTo>
                  <a:lnTo>
                    <a:pt x="3613" y="7371"/>
                  </a:lnTo>
                  <a:cubicBezTo>
                    <a:pt x="3519" y="7488"/>
                    <a:pt x="3467" y="7636"/>
                    <a:pt x="3467" y="7787"/>
                  </a:cubicBezTo>
                  <a:lnTo>
                    <a:pt x="3467" y="8000"/>
                  </a:lnTo>
                  <a:lnTo>
                    <a:pt x="1867" y="8000"/>
                  </a:lnTo>
                  <a:lnTo>
                    <a:pt x="1867" y="7787"/>
                  </a:lnTo>
                  <a:cubicBezTo>
                    <a:pt x="1867" y="7636"/>
                    <a:pt x="1815" y="7488"/>
                    <a:pt x="1720" y="7371"/>
                  </a:cubicBezTo>
                  <a:lnTo>
                    <a:pt x="1391" y="6958"/>
                  </a:lnTo>
                  <a:cubicBezTo>
                    <a:pt x="1348" y="6905"/>
                    <a:pt x="1320" y="6842"/>
                    <a:pt x="1309" y="6774"/>
                  </a:cubicBezTo>
                  <a:lnTo>
                    <a:pt x="1069" y="5335"/>
                  </a:lnTo>
                  <a:cubicBezTo>
                    <a:pt x="1067" y="5326"/>
                    <a:pt x="1067" y="5318"/>
                    <a:pt x="1067" y="5309"/>
                  </a:cubicBezTo>
                  <a:lnTo>
                    <a:pt x="1067" y="5224"/>
                  </a:lnTo>
                  <a:cubicBezTo>
                    <a:pt x="1067" y="5137"/>
                    <a:pt x="1137" y="5067"/>
                    <a:pt x="1224" y="5067"/>
                  </a:cubicBezTo>
                  <a:cubicBezTo>
                    <a:pt x="1300" y="5067"/>
                    <a:pt x="1365" y="5121"/>
                    <a:pt x="1379" y="5196"/>
                  </a:cubicBezTo>
                  <a:lnTo>
                    <a:pt x="1554" y="6161"/>
                  </a:lnTo>
                  <a:cubicBezTo>
                    <a:pt x="1594" y="6377"/>
                    <a:pt x="1781" y="6533"/>
                    <a:pt x="2000" y="6533"/>
                  </a:cubicBezTo>
                  <a:lnTo>
                    <a:pt x="2133" y="6533"/>
                  </a:lnTo>
                  <a:lnTo>
                    <a:pt x="2133" y="3333"/>
                  </a:lnTo>
                  <a:cubicBezTo>
                    <a:pt x="2133" y="3260"/>
                    <a:pt x="2193" y="3200"/>
                    <a:pt x="2267" y="3200"/>
                  </a:cubicBezTo>
                  <a:cubicBezTo>
                    <a:pt x="2340" y="3200"/>
                    <a:pt x="2400" y="3260"/>
                    <a:pt x="2400" y="3333"/>
                  </a:cubicBezTo>
                  <a:lnTo>
                    <a:pt x="2400" y="6267"/>
                  </a:lnTo>
                  <a:lnTo>
                    <a:pt x="2667" y="6267"/>
                  </a:lnTo>
                  <a:lnTo>
                    <a:pt x="2667" y="4400"/>
                  </a:lnTo>
                  <a:cubicBezTo>
                    <a:pt x="2667" y="4327"/>
                    <a:pt x="2727" y="4267"/>
                    <a:pt x="2800" y="4267"/>
                  </a:cubicBezTo>
                  <a:cubicBezTo>
                    <a:pt x="2873" y="4267"/>
                    <a:pt x="2933" y="4327"/>
                    <a:pt x="2933" y="4400"/>
                  </a:cubicBezTo>
                  <a:lnTo>
                    <a:pt x="2933" y="6267"/>
                  </a:lnTo>
                  <a:lnTo>
                    <a:pt x="3200" y="6267"/>
                  </a:lnTo>
                  <a:lnTo>
                    <a:pt x="3200" y="4667"/>
                  </a:lnTo>
                  <a:cubicBezTo>
                    <a:pt x="3200" y="4593"/>
                    <a:pt x="3260" y="4533"/>
                    <a:pt x="3333" y="4533"/>
                  </a:cubicBezTo>
                  <a:cubicBezTo>
                    <a:pt x="3407" y="4533"/>
                    <a:pt x="3467" y="4593"/>
                    <a:pt x="3467" y="4667"/>
                  </a:cubicBezTo>
                  <a:lnTo>
                    <a:pt x="3467" y="6267"/>
                  </a:lnTo>
                  <a:lnTo>
                    <a:pt x="3733" y="6267"/>
                  </a:lnTo>
                  <a:lnTo>
                    <a:pt x="3733" y="4933"/>
                  </a:lnTo>
                  <a:cubicBezTo>
                    <a:pt x="3733" y="4860"/>
                    <a:pt x="3793" y="4800"/>
                    <a:pt x="3867" y="4800"/>
                  </a:cubicBezTo>
                  <a:cubicBezTo>
                    <a:pt x="3940" y="4800"/>
                    <a:pt x="4000" y="4860"/>
                    <a:pt x="4000" y="4933"/>
                  </a:cubicBezTo>
                  <a:lnTo>
                    <a:pt x="4000" y="67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72" name="Rectangle 6"/>
            <p:cNvSpPr>
              <a:spLocks noChangeArrowheads="1"/>
            </p:cNvSpPr>
            <p:nvPr/>
          </p:nvSpPr>
          <p:spPr bwMode="auto">
            <a:xfrm>
              <a:off x="2073275" y="1250950"/>
              <a:ext cx="74613" cy="190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73" name="Rectangle 7"/>
            <p:cNvSpPr>
              <a:spLocks noChangeArrowheads="1"/>
            </p:cNvSpPr>
            <p:nvPr/>
          </p:nvSpPr>
          <p:spPr bwMode="auto">
            <a:xfrm>
              <a:off x="2165350" y="1250950"/>
              <a:ext cx="19050" cy="190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74" name="Rectangle 8"/>
            <p:cNvSpPr>
              <a:spLocks noChangeArrowheads="1"/>
            </p:cNvSpPr>
            <p:nvPr/>
          </p:nvSpPr>
          <p:spPr bwMode="auto">
            <a:xfrm>
              <a:off x="2035175" y="1250950"/>
              <a:ext cx="19050" cy="190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77" name="Freeform 9"/>
            <p:cNvSpPr>
              <a:spLocks noEditPoints="1"/>
            </p:cNvSpPr>
            <p:nvPr/>
          </p:nvSpPr>
          <p:spPr bwMode="auto">
            <a:xfrm>
              <a:off x="1776413" y="1289050"/>
              <a:ext cx="55563" cy="55562"/>
            </a:xfrm>
            <a:custGeom>
              <a:avLst/>
              <a:gdLst>
                <a:gd name="T0" fmla="*/ 0 w 800"/>
                <a:gd name="T1" fmla="*/ 400 h 800"/>
                <a:gd name="T2" fmla="*/ 400 w 800"/>
                <a:gd name="T3" fmla="*/ 800 h 800"/>
                <a:gd name="T4" fmla="*/ 800 w 800"/>
                <a:gd name="T5" fmla="*/ 400 h 800"/>
                <a:gd name="T6" fmla="*/ 400 w 800"/>
                <a:gd name="T7" fmla="*/ 0 h 800"/>
                <a:gd name="T8" fmla="*/ 0 w 800"/>
                <a:gd name="T9" fmla="*/ 400 h 800"/>
                <a:gd name="T10" fmla="*/ 534 w 800"/>
                <a:gd name="T11" fmla="*/ 400 h 800"/>
                <a:gd name="T12" fmla="*/ 400 w 800"/>
                <a:gd name="T13" fmla="*/ 533 h 800"/>
                <a:gd name="T14" fmla="*/ 267 w 800"/>
                <a:gd name="T15" fmla="*/ 400 h 800"/>
                <a:gd name="T16" fmla="*/ 400 w 800"/>
                <a:gd name="T17" fmla="*/ 266 h 800"/>
                <a:gd name="T18" fmla="*/ 534 w 800"/>
                <a:gd name="T19" fmla="*/ 400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0" h="800" extrusionOk="0">
                  <a:moveTo>
                    <a:pt x="0" y="400"/>
                  </a:moveTo>
                  <a:cubicBezTo>
                    <a:pt x="0" y="620"/>
                    <a:pt x="180" y="800"/>
                    <a:pt x="400" y="800"/>
                  </a:cubicBezTo>
                  <a:cubicBezTo>
                    <a:pt x="621" y="800"/>
                    <a:pt x="800" y="620"/>
                    <a:pt x="800" y="400"/>
                  </a:cubicBezTo>
                  <a:cubicBezTo>
                    <a:pt x="800" y="179"/>
                    <a:pt x="621" y="0"/>
                    <a:pt x="400" y="0"/>
                  </a:cubicBezTo>
                  <a:cubicBezTo>
                    <a:pt x="180" y="0"/>
                    <a:pt x="0" y="179"/>
                    <a:pt x="0" y="400"/>
                  </a:cubicBezTo>
                  <a:close/>
                  <a:moveTo>
                    <a:pt x="534" y="400"/>
                  </a:moveTo>
                  <a:cubicBezTo>
                    <a:pt x="534" y="473"/>
                    <a:pt x="474" y="533"/>
                    <a:pt x="400" y="533"/>
                  </a:cubicBezTo>
                  <a:cubicBezTo>
                    <a:pt x="327" y="533"/>
                    <a:pt x="267" y="473"/>
                    <a:pt x="267" y="400"/>
                  </a:cubicBezTo>
                  <a:cubicBezTo>
                    <a:pt x="267" y="326"/>
                    <a:pt x="327" y="266"/>
                    <a:pt x="400" y="266"/>
                  </a:cubicBezTo>
                  <a:cubicBezTo>
                    <a:pt x="474" y="266"/>
                    <a:pt x="534" y="326"/>
                    <a:pt x="534" y="40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78" name="Freeform 10"/>
            <p:cNvSpPr/>
            <p:nvPr/>
          </p:nvSpPr>
          <p:spPr bwMode="auto">
            <a:xfrm>
              <a:off x="1738313" y="1250950"/>
              <a:ext cx="130175" cy="65087"/>
            </a:xfrm>
            <a:custGeom>
              <a:avLst/>
              <a:gdLst>
                <a:gd name="T0" fmla="*/ 1600 w 1867"/>
                <a:gd name="T1" fmla="*/ 934 h 934"/>
                <a:gd name="T2" fmla="*/ 1867 w 1867"/>
                <a:gd name="T3" fmla="*/ 934 h 934"/>
                <a:gd name="T4" fmla="*/ 933 w 1867"/>
                <a:gd name="T5" fmla="*/ 0 h 934"/>
                <a:gd name="T6" fmla="*/ 0 w 1867"/>
                <a:gd name="T7" fmla="*/ 934 h 934"/>
                <a:gd name="T8" fmla="*/ 267 w 1867"/>
                <a:gd name="T9" fmla="*/ 934 h 934"/>
                <a:gd name="T10" fmla="*/ 933 w 1867"/>
                <a:gd name="T11" fmla="*/ 267 h 934"/>
                <a:gd name="T12" fmla="*/ 1600 w 1867"/>
                <a:gd name="T13" fmla="*/ 934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7" h="934" extrusionOk="0">
                  <a:moveTo>
                    <a:pt x="1600" y="934"/>
                  </a:moveTo>
                  <a:lnTo>
                    <a:pt x="1867" y="934"/>
                  </a:lnTo>
                  <a:cubicBezTo>
                    <a:pt x="1867" y="419"/>
                    <a:pt x="1448" y="0"/>
                    <a:pt x="933" y="0"/>
                  </a:cubicBezTo>
                  <a:cubicBezTo>
                    <a:pt x="419" y="0"/>
                    <a:pt x="0" y="419"/>
                    <a:pt x="0" y="934"/>
                  </a:cubicBezTo>
                  <a:lnTo>
                    <a:pt x="267" y="934"/>
                  </a:lnTo>
                  <a:cubicBezTo>
                    <a:pt x="267" y="566"/>
                    <a:pt x="566" y="267"/>
                    <a:pt x="933" y="267"/>
                  </a:cubicBezTo>
                  <a:cubicBezTo>
                    <a:pt x="1301" y="267"/>
                    <a:pt x="1600" y="566"/>
                    <a:pt x="1600" y="93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79" name="Freeform 11"/>
            <p:cNvSpPr/>
            <p:nvPr/>
          </p:nvSpPr>
          <p:spPr bwMode="auto">
            <a:xfrm>
              <a:off x="1701800" y="1214438"/>
              <a:ext cx="204788" cy="101600"/>
            </a:xfrm>
            <a:custGeom>
              <a:avLst/>
              <a:gdLst>
                <a:gd name="T0" fmla="*/ 1466 w 2933"/>
                <a:gd name="T1" fmla="*/ 267 h 1467"/>
                <a:gd name="T2" fmla="*/ 2666 w 2933"/>
                <a:gd name="T3" fmla="*/ 1467 h 1467"/>
                <a:gd name="T4" fmla="*/ 2933 w 2933"/>
                <a:gd name="T5" fmla="*/ 1467 h 1467"/>
                <a:gd name="T6" fmla="*/ 1466 w 2933"/>
                <a:gd name="T7" fmla="*/ 0 h 1467"/>
                <a:gd name="T8" fmla="*/ 0 w 2933"/>
                <a:gd name="T9" fmla="*/ 1467 h 1467"/>
                <a:gd name="T10" fmla="*/ 266 w 2933"/>
                <a:gd name="T11" fmla="*/ 1467 h 1467"/>
                <a:gd name="T12" fmla="*/ 1466 w 2933"/>
                <a:gd name="T13" fmla="*/ 267 h 1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33" h="1467" extrusionOk="0">
                  <a:moveTo>
                    <a:pt x="1466" y="267"/>
                  </a:moveTo>
                  <a:cubicBezTo>
                    <a:pt x="2128" y="267"/>
                    <a:pt x="2666" y="805"/>
                    <a:pt x="2666" y="1467"/>
                  </a:cubicBezTo>
                  <a:lnTo>
                    <a:pt x="2933" y="1467"/>
                  </a:lnTo>
                  <a:cubicBezTo>
                    <a:pt x="2933" y="658"/>
                    <a:pt x="2275" y="0"/>
                    <a:pt x="1466" y="0"/>
                  </a:cubicBezTo>
                  <a:cubicBezTo>
                    <a:pt x="658" y="0"/>
                    <a:pt x="0" y="658"/>
                    <a:pt x="0" y="1467"/>
                  </a:cubicBezTo>
                  <a:lnTo>
                    <a:pt x="266" y="1467"/>
                  </a:lnTo>
                  <a:cubicBezTo>
                    <a:pt x="266" y="805"/>
                    <a:pt x="805" y="267"/>
                    <a:pt x="1466" y="2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80" name="Freeform 12"/>
            <p:cNvSpPr>
              <a:spLocks noEditPoints="1"/>
            </p:cNvSpPr>
            <p:nvPr/>
          </p:nvSpPr>
          <p:spPr bwMode="auto">
            <a:xfrm>
              <a:off x="1682750" y="1344613"/>
              <a:ext cx="241300" cy="446087"/>
            </a:xfrm>
            <a:custGeom>
              <a:avLst/>
              <a:gdLst>
                <a:gd name="T0" fmla="*/ 667 w 3467"/>
                <a:gd name="T1" fmla="*/ 533 h 6400"/>
                <a:gd name="T2" fmla="*/ 0 w 3467"/>
                <a:gd name="T3" fmla="*/ 666 h 6400"/>
                <a:gd name="T4" fmla="*/ 1600 w 3467"/>
                <a:gd name="T5" fmla="*/ 1866 h 6400"/>
                <a:gd name="T6" fmla="*/ 667 w 3467"/>
                <a:gd name="T7" fmla="*/ 2666 h 6400"/>
                <a:gd name="T8" fmla="*/ 0 w 3467"/>
                <a:gd name="T9" fmla="*/ 2800 h 6400"/>
                <a:gd name="T10" fmla="*/ 1600 w 3467"/>
                <a:gd name="T11" fmla="*/ 4000 h 6400"/>
                <a:gd name="T12" fmla="*/ 0 w 3467"/>
                <a:gd name="T13" fmla="*/ 4266 h 6400"/>
                <a:gd name="T14" fmla="*/ 279 w 3467"/>
                <a:gd name="T15" fmla="*/ 5066 h 6400"/>
                <a:gd name="T16" fmla="*/ 3054 w 3467"/>
                <a:gd name="T17" fmla="*/ 6400 h 6400"/>
                <a:gd name="T18" fmla="*/ 3467 w 3467"/>
                <a:gd name="T19" fmla="*/ 5066 h 6400"/>
                <a:gd name="T20" fmla="*/ 1867 w 3467"/>
                <a:gd name="T21" fmla="*/ 4266 h 6400"/>
                <a:gd name="T22" fmla="*/ 2267 w 3467"/>
                <a:gd name="T23" fmla="*/ 3466 h 6400"/>
                <a:gd name="T24" fmla="*/ 3467 w 3467"/>
                <a:gd name="T25" fmla="*/ 2133 h 6400"/>
                <a:gd name="T26" fmla="*/ 1867 w 3467"/>
                <a:gd name="T27" fmla="*/ 2580 h 6400"/>
                <a:gd name="T28" fmla="*/ 2267 w 3467"/>
                <a:gd name="T29" fmla="*/ 1333 h 6400"/>
                <a:gd name="T30" fmla="*/ 3467 w 3467"/>
                <a:gd name="T31" fmla="*/ 0 h 6400"/>
                <a:gd name="T32" fmla="*/ 1617 w 3467"/>
                <a:gd name="T33" fmla="*/ 1004 h 6400"/>
                <a:gd name="T34" fmla="*/ 654 w 3467"/>
                <a:gd name="T35" fmla="*/ 6133 h 6400"/>
                <a:gd name="T36" fmla="*/ 2919 w 3467"/>
                <a:gd name="T37" fmla="*/ 5066 h 6400"/>
                <a:gd name="T38" fmla="*/ 3200 w 3467"/>
                <a:gd name="T39" fmla="*/ 4800 h 6400"/>
                <a:gd name="T40" fmla="*/ 267 w 3467"/>
                <a:gd name="T41" fmla="*/ 4533 h 6400"/>
                <a:gd name="T42" fmla="*/ 3200 w 3467"/>
                <a:gd name="T43" fmla="*/ 4800 h 6400"/>
                <a:gd name="T44" fmla="*/ 3191 w 3467"/>
                <a:gd name="T45" fmla="*/ 2400 h 6400"/>
                <a:gd name="T46" fmla="*/ 1876 w 3467"/>
                <a:gd name="T47" fmla="*/ 3200 h 6400"/>
                <a:gd name="T48" fmla="*/ 1200 w 3467"/>
                <a:gd name="T49" fmla="*/ 3733 h 6400"/>
                <a:gd name="T50" fmla="*/ 667 w 3467"/>
                <a:gd name="T51" fmla="*/ 2933 h 6400"/>
                <a:gd name="T52" fmla="*/ 1200 w 3467"/>
                <a:gd name="T53" fmla="*/ 3733 h 6400"/>
                <a:gd name="T54" fmla="*/ 276 w 3467"/>
                <a:gd name="T55" fmla="*/ 800 h 6400"/>
                <a:gd name="T56" fmla="*/ 1591 w 3467"/>
                <a:gd name="T57" fmla="*/ 1600 h 6400"/>
                <a:gd name="T58" fmla="*/ 2267 w 3467"/>
                <a:gd name="T59" fmla="*/ 1066 h 6400"/>
                <a:gd name="T60" fmla="*/ 2800 w 3467"/>
                <a:gd name="T61" fmla="*/ 266 h 6400"/>
                <a:gd name="T62" fmla="*/ 2267 w 3467"/>
                <a:gd name="T63" fmla="*/ 1066 h 6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467" h="6400" extrusionOk="0">
                  <a:moveTo>
                    <a:pt x="1617" y="1004"/>
                  </a:moveTo>
                  <a:cubicBezTo>
                    <a:pt x="1398" y="718"/>
                    <a:pt x="1054" y="533"/>
                    <a:pt x="667" y="533"/>
                  </a:cubicBezTo>
                  <a:lnTo>
                    <a:pt x="0" y="533"/>
                  </a:lnTo>
                  <a:lnTo>
                    <a:pt x="0" y="666"/>
                  </a:lnTo>
                  <a:cubicBezTo>
                    <a:pt x="0" y="1328"/>
                    <a:pt x="538" y="1866"/>
                    <a:pt x="1200" y="1866"/>
                  </a:cubicBezTo>
                  <a:lnTo>
                    <a:pt x="1600" y="1866"/>
                  </a:lnTo>
                  <a:lnTo>
                    <a:pt x="1600" y="3114"/>
                  </a:lnTo>
                  <a:cubicBezTo>
                    <a:pt x="1380" y="2841"/>
                    <a:pt x="1043" y="2666"/>
                    <a:pt x="667" y="2666"/>
                  </a:cubicBezTo>
                  <a:lnTo>
                    <a:pt x="0" y="2666"/>
                  </a:lnTo>
                  <a:lnTo>
                    <a:pt x="0" y="2800"/>
                  </a:lnTo>
                  <a:cubicBezTo>
                    <a:pt x="0" y="3461"/>
                    <a:pt x="538" y="4000"/>
                    <a:pt x="1200" y="4000"/>
                  </a:cubicBezTo>
                  <a:lnTo>
                    <a:pt x="1600" y="4000"/>
                  </a:lnTo>
                  <a:lnTo>
                    <a:pt x="1600" y="4266"/>
                  </a:lnTo>
                  <a:lnTo>
                    <a:pt x="0" y="4266"/>
                  </a:lnTo>
                  <a:lnTo>
                    <a:pt x="0" y="5066"/>
                  </a:lnTo>
                  <a:lnTo>
                    <a:pt x="279" y="5066"/>
                  </a:lnTo>
                  <a:lnTo>
                    <a:pt x="413" y="6400"/>
                  </a:lnTo>
                  <a:lnTo>
                    <a:pt x="3054" y="6400"/>
                  </a:lnTo>
                  <a:lnTo>
                    <a:pt x="3187" y="5066"/>
                  </a:lnTo>
                  <a:lnTo>
                    <a:pt x="3467" y="5066"/>
                  </a:lnTo>
                  <a:lnTo>
                    <a:pt x="3467" y="4266"/>
                  </a:lnTo>
                  <a:lnTo>
                    <a:pt x="1867" y="4266"/>
                  </a:lnTo>
                  <a:lnTo>
                    <a:pt x="1867" y="3466"/>
                  </a:lnTo>
                  <a:lnTo>
                    <a:pt x="2267" y="3466"/>
                  </a:lnTo>
                  <a:cubicBezTo>
                    <a:pt x="2928" y="3466"/>
                    <a:pt x="3467" y="2928"/>
                    <a:pt x="3467" y="2266"/>
                  </a:cubicBezTo>
                  <a:lnTo>
                    <a:pt x="3467" y="2133"/>
                  </a:lnTo>
                  <a:lnTo>
                    <a:pt x="2800" y="2133"/>
                  </a:lnTo>
                  <a:cubicBezTo>
                    <a:pt x="2423" y="2133"/>
                    <a:pt x="2087" y="2308"/>
                    <a:pt x="1867" y="2580"/>
                  </a:cubicBezTo>
                  <a:lnTo>
                    <a:pt x="1867" y="1333"/>
                  </a:lnTo>
                  <a:lnTo>
                    <a:pt x="2267" y="1333"/>
                  </a:lnTo>
                  <a:cubicBezTo>
                    <a:pt x="2928" y="1333"/>
                    <a:pt x="3467" y="795"/>
                    <a:pt x="3467" y="133"/>
                  </a:cubicBezTo>
                  <a:lnTo>
                    <a:pt x="3467" y="0"/>
                  </a:lnTo>
                  <a:lnTo>
                    <a:pt x="2800" y="0"/>
                  </a:lnTo>
                  <a:cubicBezTo>
                    <a:pt x="2205" y="0"/>
                    <a:pt x="1711" y="435"/>
                    <a:pt x="1617" y="1004"/>
                  </a:cubicBezTo>
                  <a:close/>
                  <a:moveTo>
                    <a:pt x="2813" y="6133"/>
                  </a:moveTo>
                  <a:lnTo>
                    <a:pt x="654" y="6133"/>
                  </a:lnTo>
                  <a:lnTo>
                    <a:pt x="547" y="5066"/>
                  </a:lnTo>
                  <a:lnTo>
                    <a:pt x="2919" y="5066"/>
                  </a:lnTo>
                  <a:lnTo>
                    <a:pt x="2813" y="6133"/>
                  </a:lnTo>
                  <a:close/>
                  <a:moveTo>
                    <a:pt x="3200" y="4800"/>
                  </a:moveTo>
                  <a:lnTo>
                    <a:pt x="267" y="4800"/>
                  </a:lnTo>
                  <a:lnTo>
                    <a:pt x="267" y="4533"/>
                  </a:lnTo>
                  <a:lnTo>
                    <a:pt x="3200" y="4533"/>
                  </a:lnTo>
                  <a:lnTo>
                    <a:pt x="3200" y="4800"/>
                  </a:lnTo>
                  <a:close/>
                  <a:moveTo>
                    <a:pt x="2800" y="2400"/>
                  </a:moveTo>
                  <a:lnTo>
                    <a:pt x="3191" y="2400"/>
                  </a:lnTo>
                  <a:cubicBezTo>
                    <a:pt x="3126" y="2851"/>
                    <a:pt x="2736" y="3200"/>
                    <a:pt x="2267" y="3200"/>
                  </a:cubicBezTo>
                  <a:lnTo>
                    <a:pt x="1876" y="3200"/>
                  </a:lnTo>
                  <a:cubicBezTo>
                    <a:pt x="1941" y="2748"/>
                    <a:pt x="2331" y="2400"/>
                    <a:pt x="2800" y="2400"/>
                  </a:cubicBezTo>
                  <a:close/>
                  <a:moveTo>
                    <a:pt x="1200" y="3733"/>
                  </a:moveTo>
                  <a:cubicBezTo>
                    <a:pt x="731" y="3733"/>
                    <a:pt x="341" y="3385"/>
                    <a:pt x="276" y="2933"/>
                  </a:cubicBezTo>
                  <a:lnTo>
                    <a:pt x="667" y="2933"/>
                  </a:lnTo>
                  <a:cubicBezTo>
                    <a:pt x="1136" y="2933"/>
                    <a:pt x="1526" y="3281"/>
                    <a:pt x="1591" y="3733"/>
                  </a:cubicBezTo>
                  <a:lnTo>
                    <a:pt x="1200" y="3733"/>
                  </a:lnTo>
                  <a:close/>
                  <a:moveTo>
                    <a:pt x="1200" y="1600"/>
                  </a:moveTo>
                  <a:cubicBezTo>
                    <a:pt x="731" y="1600"/>
                    <a:pt x="341" y="1251"/>
                    <a:pt x="276" y="800"/>
                  </a:cubicBezTo>
                  <a:lnTo>
                    <a:pt x="667" y="800"/>
                  </a:lnTo>
                  <a:cubicBezTo>
                    <a:pt x="1136" y="800"/>
                    <a:pt x="1526" y="1148"/>
                    <a:pt x="1591" y="1600"/>
                  </a:cubicBezTo>
                  <a:lnTo>
                    <a:pt x="1200" y="1600"/>
                  </a:lnTo>
                  <a:close/>
                  <a:moveTo>
                    <a:pt x="2267" y="1066"/>
                  </a:moveTo>
                  <a:lnTo>
                    <a:pt x="1876" y="1066"/>
                  </a:lnTo>
                  <a:cubicBezTo>
                    <a:pt x="1941" y="615"/>
                    <a:pt x="2331" y="266"/>
                    <a:pt x="2800" y="266"/>
                  </a:cubicBezTo>
                  <a:lnTo>
                    <a:pt x="3191" y="266"/>
                  </a:lnTo>
                  <a:cubicBezTo>
                    <a:pt x="3126" y="718"/>
                    <a:pt x="2736" y="1066"/>
                    <a:pt x="2267" y="10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</p:grpSp>
      <p:sp>
        <p:nvSpPr>
          <p:cNvPr id="81" name="Прямоугольник 80"/>
          <p:cNvSpPr/>
          <p:nvPr/>
        </p:nvSpPr>
        <p:spPr bwMode="auto">
          <a:xfrm>
            <a:off x="1536491" y="1541557"/>
            <a:ext cx="5207209" cy="646331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marL="0" lvl="1">
              <a:defRPr/>
            </a:pPr>
            <a:r>
              <a:rPr lang="ru-RU" sz="1800">
                <a:solidFill>
                  <a:srgbClr val="000000"/>
                </a:solidFill>
                <a:latin typeface="Proxima Nova Rg"/>
              </a:rPr>
              <a:t>Поддержка в развитии фермерства в регионах – </a:t>
            </a:r>
            <a:r>
              <a:rPr lang="ru-RU" sz="1800" b="1">
                <a:solidFill>
                  <a:srgbClr val="000000"/>
                </a:solidFill>
                <a:latin typeface="Proxima Nova Rg"/>
              </a:rPr>
              <a:t>запуск новых МФХ</a:t>
            </a:r>
            <a:endParaRPr/>
          </a:p>
        </p:txBody>
      </p:sp>
      <p:sp>
        <p:nvSpPr>
          <p:cNvPr id="82" name="Прямоугольник 81"/>
          <p:cNvSpPr/>
          <p:nvPr/>
        </p:nvSpPr>
        <p:spPr bwMode="auto">
          <a:xfrm>
            <a:off x="1536491" y="2521207"/>
            <a:ext cx="7113381" cy="646331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>
              <a:defRPr/>
            </a:pPr>
            <a:r>
              <a:rPr lang="ru-RU" sz="1800" b="1">
                <a:solidFill>
                  <a:srgbClr val="000000"/>
                </a:solidFill>
                <a:latin typeface="Proxima Nova Rg"/>
              </a:rPr>
              <a:t>Поддержка </a:t>
            </a:r>
            <a:r>
              <a:rPr lang="ru-RU" sz="1800">
                <a:solidFill>
                  <a:srgbClr val="000000"/>
                </a:solidFill>
                <a:latin typeface="Proxima Nova Rg"/>
              </a:rPr>
              <a:t>проектов АПК </a:t>
            </a:r>
            <a:r>
              <a:rPr lang="ru-RU" sz="1800" b="1">
                <a:solidFill>
                  <a:srgbClr val="000000"/>
                </a:solidFill>
                <a:latin typeface="Proxima Nova Rg"/>
              </a:rPr>
              <a:t>молодых предпринимателей</a:t>
            </a:r>
            <a:br>
              <a:rPr lang="ru-RU" sz="1800" b="1">
                <a:solidFill>
                  <a:srgbClr val="000000"/>
                </a:solidFill>
                <a:latin typeface="Proxima Nova Rg"/>
              </a:rPr>
            </a:br>
            <a:r>
              <a:rPr lang="ru-RU" sz="1800">
                <a:solidFill>
                  <a:srgbClr val="000000"/>
                </a:solidFill>
                <a:latin typeface="Proxima Nova Rg"/>
              </a:rPr>
              <a:t>на всех этапах развития</a:t>
            </a:r>
            <a:endParaRPr/>
          </a:p>
        </p:txBody>
      </p:sp>
      <p:sp>
        <p:nvSpPr>
          <p:cNvPr id="83" name="Прямоугольник 82"/>
          <p:cNvSpPr/>
          <p:nvPr/>
        </p:nvSpPr>
        <p:spPr bwMode="auto">
          <a:xfrm>
            <a:off x="1536491" y="3415924"/>
            <a:ext cx="6096000" cy="646331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>
              <a:defRPr/>
            </a:pPr>
            <a:r>
              <a:rPr lang="ru-RU" sz="1800" b="1">
                <a:solidFill>
                  <a:srgbClr val="000000"/>
                </a:solidFill>
                <a:latin typeface="Proxima Nova Rg"/>
              </a:rPr>
              <a:t>Повышение финансовой грамотности</a:t>
            </a:r>
            <a:br>
              <a:rPr lang="ru-RU" sz="1800" b="1">
                <a:solidFill>
                  <a:srgbClr val="000000"/>
                </a:solidFill>
                <a:latin typeface="Proxima Nova Rg"/>
              </a:rPr>
            </a:br>
            <a:r>
              <a:rPr lang="ru-RU" sz="1800">
                <a:solidFill>
                  <a:srgbClr val="000000"/>
                </a:solidFill>
                <a:latin typeface="Proxima Nova Rg"/>
              </a:rPr>
              <a:t>действующих фермеров</a:t>
            </a:r>
            <a:endParaRPr/>
          </a:p>
        </p:txBody>
      </p:sp>
      <p:grpSp>
        <p:nvGrpSpPr>
          <p:cNvPr id="84" name="Group 207"/>
          <p:cNvGrpSpPr/>
          <p:nvPr/>
        </p:nvGrpSpPr>
        <p:grpSpPr bwMode="auto">
          <a:xfrm>
            <a:off x="786467" y="3420280"/>
            <a:ext cx="456954" cy="637619"/>
            <a:chOff x="574675" y="1403350"/>
            <a:chExt cx="682625" cy="952500"/>
          </a:xfrm>
          <a:solidFill>
            <a:schemeClr val="tx1"/>
          </a:solidFill>
        </p:grpSpPr>
        <p:sp>
          <p:nvSpPr>
            <p:cNvPr id="85" name="Freeform 5"/>
            <p:cNvSpPr>
              <a:spLocks noEditPoints="1"/>
            </p:cNvSpPr>
            <p:nvPr/>
          </p:nvSpPr>
          <p:spPr bwMode="auto">
            <a:xfrm>
              <a:off x="914400" y="1481138"/>
              <a:ext cx="279400" cy="277813"/>
            </a:xfrm>
            <a:custGeom>
              <a:avLst/>
              <a:gdLst>
                <a:gd name="T0" fmla="*/ 1251 w 2503"/>
                <a:gd name="T1" fmla="*/ 2492 h 2492"/>
                <a:gd name="T2" fmla="*/ 2503 w 2503"/>
                <a:gd name="T3" fmla="*/ 1246 h 2492"/>
                <a:gd name="T4" fmla="*/ 1251 w 2503"/>
                <a:gd name="T5" fmla="*/ 0 h 2492"/>
                <a:gd name="T6" fmla="*/ 0 w 2503"/>
                <a:gd name="T7" fmla="*/ 1246 h 2492"/>
                <a:gd name="T8" fmla="*/ 1251 w 2503"/>
                <a:gd name="T9" fmla="*/ 2492 h 2492"/>
                <a:gd name="T10" fmla="*/ 1251 w 2503"/>
                <a:gd name="T11" fmla="*/ 250 h 2492"/>
                <a:gd name="T12" fmla="*/ 2253 w 2503"/>
                <a:gd name="T13" fmla="*/ 1246 h 2492"/>
                <a:gd name="T14" fmla="*/ 1251 w 2503"/>
                <a:gd name="T15" fmla="*/ 2242 h 2492"/>
                <a:gd name="T16" fmla="*/ 250 w 2503"/>
                <a:gd name="T17" fmla="*/ 1246 h 2492"/>
                <a:gd name="T18" fmla="*/ 1251 w 2503"/>
                <a:gd name="T19" fmla="*/ 250 h 2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3" h="2492" extrusionOk="0">
                  <a:moveTo>
                    <a:pt x="1251" y="2492"/>
                  </a:moveTo>
                  <a:cubicBezTo>
                    <a:pt x="1941" y="2492"/>
                    <a:pt x="2503" y="1933"/>
                    <a:pt x="2503" y="1246"/>
                  </a:cubicBezTo>
                  <a:cubicBezTo>
                    <a:pt x="2503" y="559"/>
                    <a:pt x="1941" y="0"/>
                    <a:pt x="1251" y="0"/>
                  </a:cubicBezTo>
                  <a:cubicBezTo>
                    <a:pt x="561" y="0"/>
                    <a:pt x="0" y="559"/>
                    <a:pt x="0" y="1246"/>
                  </a:cubicBezTo>
                  <a:cubicBezTo>
                    <a:pt x="0" y="1933"/>
                    <a:pt x="561" y="2492"/>
                    <a:pt x="1251" y="2492"/>
                  </a:cubicBezTo>
                  <a:close/>
                  <a:moveTo>
                    <a:pt x="1251" y="250"/>
                  </a:moveTo>
                  <a:cubicBezTo>
                    <a:pt x="1804" y="250"/>
                    <a:pt x="2253" y="696"/>
                    <a:pt x="2253" y="1246"/>
                  </a:cubicBezTo>
                  <a:cubicBezTo>
                    <a:pt x="2253" y="1795"/>
                    <a:pt x="1804" y="2242"/>
                    <a:pt x="1251" y="2242"/>
                  </a:cubicBezTo>
                  <a:cubicBezTo>
                    <a:pt x="699" y="2242"/>
                    <a:pt x="250" y="1795"/>
                    <a:pt x="250" y="1246"/>
                  </a:cubicBezTo>
                  <a:cubicBezTo>
                    <a:pt x="250" y="696"/>
                    <a:pt x="699" y="250"/>
                    <a:pt x="1251" y="25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86" name="Freeform 6"/>
            <p:cNvSpPr/>
            <p:nvPr/>
          </p:nvSpPr>
          <p:spPr bwMode="auto">
            <a:xfrm>
              <a:off x="954087" y="1519238"/>
              <a:ext cx="198438" cy="200025"/>
            </a:xfrm>
            <a:custGeom>
              <a:avLst/>
              <a:gdLst>
                <a:gd name="T0" fmla="*/ 896 w 1789"/>
                <a:gd name="T1" fmla="*/ 1787 h 1787"/>
                <a:gd name="T2" fmla="*/ 1640 w 1789"/>
                <a:gd name="T3" fmla="*/ 1393 h 1787"/>
                <a:gd name="T4" fmla="*/ 1607 w 1789"/>
                <a:gd name="T5" fmla="*/ 1219 h 1787"/>
                <a:gd name="T6" fmla="*/ 1433 w 1789"/>
                <a:gd name="T7" fmla="*/ 1253 h 1787"/>
                <a:gd name="T8" fmla="*/ 896 w 1789"/>
                <a:gd name="T9" fmla="*/ 1537 h 1787"/>
                <a:gd name="T10" fmla="*/ 250 w 1789"/>
                <a:gd name="T11" fmla="*/ 894 h 1787"/>
                <a:gd name="T12" fmla="*/ 896 w 1789"/>
                <a:gd name="T13" fmla="*/ 250 h 1787"/>
                <a:gd name="T14" fmla="*/ 1530 w 1789"/>
                <a:gd name="T15" fmla="*/ 764 h 1787"/>
                <a:gd name="T16" fmla="*/ 1678 w 1789"/>
                <a:gd name="T17" fmla="*/ 862 h 1787"/>
                <a:gd name="T18" fmla="*/ 1775 w 1789"/>
                <a:gd name="T19" fmla="*/ 714 h 1787"/>
                <a:gd name="T20" fmla="*/ 896 w 1789"/>
                <a:gd name="T21" fmla="*/ 0 h 1787"/>
                <a:gd name="T22" fmla="*/ 0 w 1789"/>
                <a:gd name="T23" fmla="*/ 894 h 1787"/>
                <a:gd name="T24" fmla="*/ 896 w 1789"/>
                <a:gd name="T25" fmla="*/ 1787 h 17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89" h="1787" extrusionOk="0">
                  <a:moveTo>
                    <a:pt x="896" y="1787"/>
                  </a:moveTo>
                  <a:cubicBezTo>
                    <a:pt x="1195" y="1787"/>
                    <a:pt x="1473" y="1640"/>
                    <a:pt x="1640" y="1393"/>
                  </a:cubicBezTo>
                  <a:cubicBezTo>
                    <a:pt x="1679" y="1336"/>
                    <a:pt x="1664" y="1258"/>
                    <a:pt x="1607" y="1219"/>
                  </a:cubicBezTo>
                  <a:cubicBezTo>
                    <a:pt x="1550" y="1180"/>
                    <a:pt x="1472" y="1195"/>
                    <a:pt x="1433" y="1253"/>
                  </a:cubicBezTo>
                  <a:cubicBezTo>
                    <a:pt x="1313" y="1431"/>
                    <a:pt x="1112" y="1537"/>
                    <a:pt x="896" y="1537"/>
                  </a:cubicBezTo>
                  <a:cubicBezTo>
                    <a:pt x="540" y="1537"/>
                    <a:pt x="250" y="1248"/>
                    <a:pt x="250" y="894"/>
                  </a:cubicBezTo>
                  <a:cubicBezTo>
                    <a:pt x="250" y="539"/>
                    <a:pt x="540" y="250"/>
                    <a:pt x="896" y="250"/>
                  </a:cubicBezTo>
                  <a:cubicBezTo>
                    <a:pt x="1203" y="250"/>
                    <a:pt x="1469" y="467"/>
                    <a:pt x="1530" y="764"/>
                  </a:cubicBezTo>
                  <a:cubicBezTo>
                    <a:pt x="1544" y="832"/>
                    <a:pt x="1610" y="876"/>
                    <a:pt x="1678" y="862"/>
                  </a:cubicBezTo>
                  <a:cubicBezTo>
                    <a:pt x="1746" y="848"/>
                    <a:pt x="1789" y="782"/>
                    <a:pt x="1775" y="714"/>
                  </a:cubicBezTo>
                  <a:cubicBezTo>
                    <a:pt x="1691" y="301"/>
                    <a:pt x="1321" y="0"/>
                    <a:pt x="896" y="0"/>
                  </a:cubicBezTo>
                  <a:cubicBezTo>
                    <a:pt x="402" y="0"/>
                    <a:pt x="0" y="401"/>
                    <a:pt x="0" y="894"/>
                  </a:cubicBezTo>
                  <a:cubicBezTo>
                    <a:pt x="0" y="1386"/>
                    <a:pt x="402" y="1787"/>
                    <a:pt x="896" y="178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87" name="Freeform 7"/>
            <p:cNvSpPr/>
            <p:nvPr/>
          </p:nvSpPr>
          <p:spPr bwMode="auto">
            <a:xfrm>
              <a:off x="1014413" y="1554163"/>
              <a:ext cx="77788" cy="131763"/>
            </a:xfrm>
            <a:custGeom>
              <a:avLst/>
              <a:gdLst>
                <a:gd name="T0" fmla="*/ 352 w 705"/>
                <a:gd name="T1" fmla="*/ 1185 h 1185"/>
                <a:gd name="T2" fmla="*/ 477 w 705"/>
                <a:gd name="T3" fmla="*/ 1060 h 1185"/>
                <a:gd name="T4" fmla="*/ 477 w 705"/>
                <a:gd name="T5" fmla="*/ 1024 h 1185"/>
                <a:gd name="T6" fmla="*/ 705 w 705"/>
                <a:gd name="T7" fmla="*/ 748 h 1185"/>
                <a:gd name="T8" fmla="*/ 423 w 705"/>
                <a:gd name="T9" fmla="*/ 468 h 1185"/>
                <a:gd name="T10" fmla="*/ 282 w 705"/>
                <a:gd name="T11" fmla="*/ 468 h 1185"/>
                <a:gd name="T12" fmla="*/ 250 w 705"/>
                <a:gd name="T13" fmla="*/ 437 h 1185"/>
                <a:gd name="T14" fmla="*/ 282 w 705"/>
                <a:gd name="T15" fmla="*/ 406 h 1185"/>
                <a:gd name="T16" fmla="*/ 505 w 705"/>
                <a:gd name="T17" fmla="*/ 406 h 1185"/>
                <a:gd name="T18" fmla="*/ 630 w 705"/>
                <a:gd name="T19" fmla="*/ 281 h 1185"/>
                <a:gd name="T20" fmla="*/ 505 w 705"/>
                <a:gd name="T21" fmla="*/ 156 h 1185"/>
                <a:gd name="T22" fmla="*/ 477 w 705"/>
                <a:gd name="T23" fmla="*/ 156 h 1185"/>
                <a:gd name="T24" fmla="*/ 477 w 705"/>
                <a:gd name="T25" fmla="*/ 125 h 1185"/>
                <a:gd name="T26" fmla="*/ 352 w 705"/>
                <a:gd name="T27" fmla="*/ 0 h 1185"/>
                <a:gd name="T28" fmla="*/ 227 w 705"/>
                <a:gd name="T29" fmla="*/ 125 h 1185"/>
                <a:gd name="T30" fmla="*/ 227 w 705"/>
                <a:gd name="T31" fmla="*/ 161 h 1185"/>
                <a:gd name="T32" fmla="*/ 0 w 705"/>
                <a:gd name="T33" fmla="*/ 437 h 1185"/>
                <a:gd name="T34" fmla="*/ 282 w 705"/>
                <a:gd name="T35" fmla="*/ 718 h 1185"/>
                <a:gd name="T36" fmla="*/ 423 w 705"/>
                <a:gd name="T37" fmla="*/ 718 h 1185"/>
                <a:gd name="T38" fmla="*/ 455 w 705"/>
                <a:gd name="T39" fmla="*/ 748 h 1185"/>
                <a:gd name="T40" fmla="*/ 423 w 705"/>
                <a:gd name="T41" fmla="*/ 779 h 1185"/>
                <a:gd name="T42" fmla="*/ 162 w 705"/>
                <a:gd name="T43" fmla="*/ 779 h 1185"/>
                <a:gd name="T44" fmla="*/ 37 w 705"/>
                <a:gd name="T45" fmla="*/ 904 h 1185"/>
                <a:gd name="T46" fmla="*/ 162 w 705"/>
                <a:gd name="T47" fmla="*/ 1029 h 1185"/>
                <a:gd name="T48" fmla="*/ 227 w 705"/>
                <a:gd name="T49" fmla="*/ 1029 h 1185"/>
                <a:gd name="T50" fmla="*/ 227 w 705"/>
                <a:gd name="T51" fmla="*/ 1060 h 1185"/>
                <a:gd name="T52" fmla="*/ 352 w 705"/>
                <a:gd name="T53" fmla="*/ 1185 h 1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05" h="1185" extrusionOk="0">
                  <a:moveTo>
                    <a:pt x="352" y="1185"/>
                  </a:moveTo>
                  <a:cubicBezTo>
                    <a:pt x="421" y="1185"/>
                    <a:pt x="477" y="1129"/>
                    <a:pt x="477" y="1060"/>
                  </a:cubicBezTo>
                  <a:lnTo>
                    <a:pt x="477" y="1024"/>
                  </a:lnTo>
                  <a:cubicBezTo>
                    <a:pt x="607" y="998"/>
                    <a:pt x="705" y="885"/>
                    <a:pt x="705" y="748"/>
                  </a:cubicBezTo>
                  <a:cubicBezTo>
                    <a:pt x="705" y="594"/>
                    <a:pt x="578" y="468"/>
                    <a:pt x="423" y="468"/>
                  </a:cubicBezTo>
                  <a:lnTo>
                    <a:pt x="282" y="468"/>
                  </a:lnTo>
                  <a:cubicBezTo>
                    <a:pt x="264" y="468"/>
                    <a:pt x="250" y="454"/>
                    <a:pt x="250" y="437"/>
                  </a:cubicBezTo>
                  <a:cubicBezTo>
                    <a:pt x="250" y="420"/>
                    <a:pt x="264" y="406"/>
                    <a:pt x="282" y="406"/>
                  </a:cubicBezTo>
                  <a:lnTo>
                    <a:pt x="505" y="406"/>
                  </a:lnTo>
                  <a:cubicBezTo>
                    <a:pt x="574" y="406"/>
                    <a:pt x="630" y="350"/>
                    <a:pt x="630" y="281"/>
                  </a:cubicBezTo>
                  <a:cubicBezTo>
                    <a:pt x="630" y="212"/>
                    <a:pt x="574" y="156"/>
                    <a:pt x="505" y="156"/>
                  </a:cubicBezTo>
                  <a:lnTo>
                    <a:pt x="477" y="156"/>
                  </a:lnTo>
                  <a:lnTo>
                    <a:pt x="477" y="125"/>
                  </a:lnTo>
                  <a:cubicBezTo>
                    <a:pt x="477" y="56"/>
                    <a:pt x="421" y="0"/>
                    <a:pt x="352" y="0"/>
                  </a:cubicBezTo>
                  <a:cubicBezTo>
                    <a:pt x="283" y="0"/>
                    <a:pt x="227" y="56"/>
                    <a:pt x="227" y="125"/>
                  </a:cubicBezTo>
                  <a:lnTo>
                    <a:pt x="227" y="161"/>
                  </a:lnTo>
                  <a:cubicBezTo>
                    <a:pt x="98" y="187"/>
                    <a:pt x="0" y="301"/>
                    <a:pt x="0" y="437"/>
                  </a:cubicBezTo>
                  <a:cubicBezTo>
                    <a:pt x="0" y="592"/>
                    <a:pt x="126" y="718"/>
                    <a:pt x="282" y="718"/>
                  </a:cubicBezTo>
                  <a:lnTo>
                    <a:pt x="423" y="718"/>
                  </a:lnTo>
                  <a:cubicBezTo>
                    <a:pt x="441" y="718"/>
                    <a:pt x="455" y="731"/>
                    <a:pt x="455" y="748"/>
                  </a:cubicBezTo>
                  <a:cubicBezTo>
                    <a:pt x="455" y="765"/>
                    <a:pt x="441" y="779"/>
                    <a:pt x="423" y="779"/>
                  </a:cubicBezTo>
                  <a:lnTo>
                    <a:pt x="162" y="779"/>
                  </a:lnTo>
                  <a:cubicBezTo>
                    <a:pt x="93" y="779"/>
                    <a:pt x="37" y="835"/>
                    <a:pt x="37" y="904"/>
                  </a:cubicBezTo>
                  <a:cubicBezTo>
                    <a:pt x="37" y="973"/>
                    <a:pt x="93" y="1029"/>
                    <a:pt x="162" y="1029"/>
                  </a:cubicBezTo>
                  <a:lnTo>
                    <a:pt x="227" y="1029"/>
                  </a:lnTo>
                  <a:lnTo>
                    <a:pt x="227" y="1060"/>
                  </a:lnTo>
                  <a:cubicBezTo>
                    <a:pt x="227" y="1129"/>
                    <a:pt x="283" y="1185"/>
                    <a:pt x="352" y="118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88" name="Freeform 8"/>
            <p:cNvSpPr>
              <a:spLocks noEditPoints="1"/>
            </p:cNvSpPr>
            <p:nvPr/>
          </p:nvSpPr>
          <p:spPr bwMode="auto">
            <a:xfrm>
              <a:off x="574675" y="1689100"/>
              <a:ext cx="682625" cy="666750"/>
            </a:xfrm>
            <a:custGeom>
              <a:avLst/>
              <a:gdLst>
                <a:gd name="T0" fmla="*/ 6107 w 6107"/>
                <a:gd name="T1" fmla="*/ 1675 h 5975"/>
                <a:gd name="T2" fmla="*/ 6024 w 6107"/>
                <a:gd name="T3" fmla="*/ 732 h 5975"/>
                <a:gd name="T4" fmla="*/ 5773 w 6107"/>
                <a:gd name="T5" fmla="*/ 773 h 5975"/>
                <a:gd name="T6" fmla="*/ 5606 w 6107"/>
                <a:gd name="T7" fmla="*/ 418 h 5975"/>
                <a:gd name="T8" fmla="*/ 3577 w 6107"/>
                <a:gd name="T9" fmla="*/ 1485 h 5975"/>
                <a:gd name="T10" fmla="*/ 2211 w 6107"/>
                <a:gd name="T11" fmla="*/ 0 h 5975"/>
                <a:gd name="T12" fmla="*/ 591 w 6107"/>
                <a:gd name="T13" fmla="*/ 442 h 5975"/>
                <a:gd name="T14" fmla="*/ 334 w 6107"/>
                <a:gd name="T15" fmla="*/ 596 h 5975"/>
                <a:gd name="T16" fmla="*/ 258 w 6107"/>
                <a:gd name="T17" fmla="*/ 733 h 5975"/>
                <a:gd name="T18" fmla="*/ 0 w 6107"/>
                <a:gd name="T19" fmla="*/ 886 h 5975"/>
                <a:gd name="T20" fmla="*/ 135 w 6107"/>
                <a:gd name="T21" fmla="*/ 4334 h 5975"/>
                <a:gd name="T22" fmla="*/ 836 w 6107"/>
                <a:gd name="T23" fmla="*/ 4720 h 5975"/>
                <a:gd name="T24" fmla="*/ 899 w 6107"/>
                <a:gd name="T25" fmla="*/ 4487 h 5975"/>
                <a:gd name="T26" fmla="*/ 250 w 6107"/>
                <a:gd name="T27" fmla="*/ 4099 h 5975"/>
                <a:gd name="T28" fmla="*/ 2921 w 6107"/>
                <a:gd name="T29" fmla="*/ 2450 h 5975"/>
                <a:gd name="T30" fmla="*/ 2928 w 6107"/>
                <a:gd name="T31" fmla="*/ 5658 h 5975"/>
                <a:gd name="T32" fmla="*/ 1228 w 6107"/>
                <a:gd name="T33" fmla="*/ 4821 h 5975"/>
                <a:gd name="T34" fmla="*/ 2919 w 6107"/>
                <a:gd name="T35" fmla="*/ 5942 h 5975"/>
                <a:gd name="T36" fmla="*/ 3188 w 6107"/>
                <a:gd name="T37" fmla="*/ 5942 h 5975"/>
                <a:gd name="T38" fmla="*/ 6107 w 6107"/>
                <a:gd name="T39" fmla="*/ 4101 h 5975"/>
                <a:gd name="T40" fmla="*/ 5982 w 6107"/>
                <a:gd name="T41" fmla="*/ 2150 h 5975"/>
                <a:gd name="T42" fmla="*/ 5857 w 6107"/>
                <a:gd name="T43" fmla="*/ 4099 h 5975"/>
                <a:gd name="T44" fmla="*/ 3178 w 6107"/>
                <a:gd name="T45" fmla="*/ 5658 h 5975"/>
                <a:gd name="T46" fmla="*/ 3186 w 6107"/>
                <a:gd name="T47" fmla="*/ 2450 h 5975"/>
                <a:gd name="T48" fmla="*/ 5857 w 6107"/>
                <a:gd name="T49" fmla="*/ 1675 h 5975"/>
                <a:gd name="T50" fmla="*/ 2211 w 6107"/>
                <a:gd name="T51" fmla="*/ 250 h 5975"/>
                <a:gd name="T52" fmla="*/ 3299 w 6107"/>
                <a:gd name="T53" fmla="*/ 1635 h 5975"/>
                <a:gd name="T54" fmla="*/ 3190 w 6107"/>
                <a:gd name="T55" fmla="*/ 1366 h 5975"/>
                <a:gd name="T56" fmla="*/ 1373 w 6107"/>
                <a:gd name="T57" fmla="*/ 863 h 5975"/>
                <a:gd name="T58" fmla="*/ 2211 w 6107"/>
                <a:gd name="T59" fmla="*/ 250 h 5975"/>
                <a:gd name="T60" fmla="*/ 2290 w 6107"/>
                <a:gd name="T61" fmla="*/ 1241 h 5975"/>
                <a:gd name="T62" fmla="*/ 2085 w 6107"/>
                <a:gd name="T63" fmla="*/ 1193 h 5975"/>
                <a:gd name="T64" fmla="*/ 2380 w 6107"/>
                <a:gd name="T65" fmla="*/ 1146 h 5975"/>
                <a:gd name="T66" fmla="*/ 2380 w 6107"/>
                <a:gd name="T67" fmla="*/ 896 h 5975"/>
                <a:gd name="T68" fmla="*/ 2336 w 6107"/>
                <a:gd name="T69" fmla="*/ 849 h 5975"/>
                <a:gd name="T70" fmla="*/ 2086 w 6107"/>
                <a:gd name="T71" fmla="*/ 849 h 5975"/>
                <a:gd name="T72" fmla="*/ 1845 w 6107"/>
                <a:gd name="T73" fmla="*/ 1117 h 5975"/>
                <a:gd name="T74" fmla="*/ 2211 w 6107"/>
                <a:gd name="T75" fmla="*/ 641 h 5975"/>
                <a:gd name="T76" fmla="*/ 2873 w 6107"/>
                <a:gd name="T77" fmla="*/ 1670 h 5975"/>
                <a:gd name="T78" fmla="*/ 3069 w 6107"/>
                <a:gd name="T79" fmla="*/ 2229 h 5975"/>
                <a:gd name="T80" fmla="*/ 584 w 6107"/>
                <a:gd name="T81" fmla="*/ 908 h 5975"/>
                <a:gd name="T82" fmla="*/ 2921 w 6107"/>
                <a:gd name="T83" fmla="*/ 1980 h 5975"/>
                <a:gd name="T84" fmla="*/ 3186 w 6107"/>
                <a:gd name="T85" fmla="*/ 1980 h 5975"/>
                <a:gd name="T86" fmla="*/ 5523 w 6107"/>
                <a:gd name="T87" fmla="*/ 908 h 5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107" h="5975" extrusionOk="0">
                  <a:moveTo>
                    <a:pt x="5982" y="1800"/>
                  </a:moveTo>
                  <a:cubicBezTo>
                    <a:pt x="6051" y="1800"/>
                    <a:pt x="6107" y="1744"/>
                    <a:pt x="6107" y="1675"/>
                  </a:cubicBezTo>
                  <a:lnTo>
                    <a:pt x="6107" y="886"/>
                  </a:lnTo>
                  <a:cubicBezTo>
                    <a:pt x="6107" y="820"/>
                    <a:pt x="6076" y="763"/>
                    <a:pt x="6024" y="732"/>
                  </a:cubicBezTo>
                  <a:cubicBezTo>
                    <a:pt x="5972" y="701"/>
                    <a:pt x="5907" y="701"/>
                    <a:pt x="5849" y="733"/>
                  </a:cubicBezTo>
                  <a:lnTo>
                    <a:pt x="5773" y="773"/>
                  </a:lnTo>
                  <a:lnTo>
                    <a:pt x="5773" y="596"/>
                  </a:lnTo>
                  <a:cubicBezTo>
                    <a:pt x="5773" y="495"/>
                    <a:pt x="5701" y="418"/>
                    <a:pt x="5606" y="418"/>
                  </a:cubicBezTo>
                  <a:cubicBezTo>
                    <a:pt x="5575" y="418"/>
                    <a:pt x="5545" y="426"/>
                    <a:pt x="5515" y="442"/>
                  </a:cubicBezTo>
                  <a:lnTo>
                    <a:pt x="3577" y="1485"/>
                  </a:lnTo>
                  <a:cubicBezTo>
                    <a:pt x="3580" y="1446"/>
                    <a:pt x="3583" y="1406"/>
                    <a:pt x="3583" y="1366"/>
                  </a:cubicBezTo>
                  <a:cubicBezTo>
                    <a:pt x="3583" y="613"/>
                    <a:pt x="2967" y="0"/>
                    <a:pt x="2211" y="0"/>
                  </a:cubicBezTo>
                  <a:cubicBezTo>
                    <a:pt x="1707" y="0"/>
                    <a:pt x="1266" y="273"/>
                    <a:pt x="1028" y="677"/>
                  </a:cubicBezTo>
                  <a:lnTo>
                    <a:pt x="591" y="442"/>
                  </a:lnTo>
                  <a:cubicBezTo>
                    <a:pt x="562" y="426"/>
                    <a:pt x="532" y="418"/>
                    <a:pt x="501" y="418"/>
                  </a:cubicBezTo>
                  <a:cubicBezTo>
                    <a:pt x="405" y="418"/>
                    <a:pt x="334" y="494"/>
                    <a:pt x="334" y="596"/>
                  </a:cubicBezTo>
                  <a:lnTo>
                    <a:pt x="334" y="773"/>
                  </a:lnTo>
                  <a:lnTo>
                    <a:pt x="258" y="733"/>
                  </a:lnTo>
                  <a:cubicBezTo>
                    <a:pt x="200" y="701"/>
                    <a:pt x="134" y="701"/>
                    <a:pt x="82" y="732"/>
                  </a:cubicBezTo>
                  <a:cubicBezTo>
                    <a:pt x="31" y="763"/>
                    <a:pt x="0" y="820"/>
                    <a:pt x="0" y="886"/>
                  </a:cubicBezTo>
                  <a:lnTo>
                    <a:pt x="0" y="4101"/>
                  </a:lnTo>
                  <a:cubicBezTo>
                    <a:pt x="0" y="4191"/>
                    <a:pt x="57" y="4289"/>
                    <a:pt x="135" y="4334"/>
                  </a:cubicBezTo>
                  <a:lnTo>
                    <a:pt x="774" y="4703"/>
                  </a:lnTo>
                  <a:cubicBezTo>
                    <a:pt x="794" y="4715"/>
                    <a:pt x="815" y="4720"/>
                    <a:pt x="836" y="4720"/>
                  </a:cubicBezTo>
                  <a:cubicBezTo>
                    <a:pt x="880" y="4720"/>
                    <a:pt x="922" y="4698"/>
                    <a:pt x="945" y="4658"/>
                  </a:cubicBezTo>
                  <a:cubicBezTo>
                    <a:pt x="979" y="4598"/>
                    <a:pt x="959" y="4521"/>
                    <a:pt x="899" y="4487"/>
                  </a:cubicBezTo>
                  <a:lnTo>
                    <a:pt x="261" y="4119"/>
                  </a:lnTo>
                  <a:cubicBezTo>
                    <a:pt x="257" y="4115"/>
                    <a:pt x="251" y="4105"/>
                    <a:pt x="250" y="4099"/>
                  </a:cubicBezTo>
                  <a:lnTo>
                    <a:pt x="250" y="1012"/>
                  </a:lnTo>
                  <a:lnTo>
                    <a:pt x="2921" y="2450"/>
                  </a:lnTo>
                  <a:cubicBezTo>
                    <a:pt x="2923" y="2451"/>
                    <a:pt x="2926" y="2452"/>
                    <a:pt x="2928" y="2453"/>
                  </a:cubicBezTo>
                  <a:lnTo>
                    <a:pt x="2928" y="5658"/>
                  </a:lnTo>
                  <a:lnTo>
                    <a:pt x="1399" y="4776"/>
                  </a:lnTo>
                  <a:cubicBezTo>
                    <a:pt x="1339" y="4741"/>
                    <a:pt x="1263" y="4762"/>
                    <a:pt x="1228" y="4821"/>
                  </a:cubicBezTo>
                  <a:cubicBezTo>
                    <a:pt x="1194" y="4881"/>
                    <a:pt x="1214" y="4958"/>
                    <a:pt x="1274" y="4992"/>
                  </a:cubicBezTo>
                  <a:lnTo>
                    <a:pt x="2919" y="5942"/>
                  </a:lnTo>
                  <a:cubicBezTo>
                    <a:pt x="2958" y="5964"/>
                    <a:pt x="3005" y="5975"/>
                    <a:pt x="3053" y="5975"/>
                  </a:cubicBezTo>
                  <a:cubicBezTo>
                    <a:pt x="3101" y="5975"/>
                    <a:pt x="3149" y="5964"/>
                    <a:pt x="3188" y="5942"/>
                  </a:cubicBezTo>
                  <a:lnTo>
                    <a:pt x="5972" y="4334"/>
                  </a:lnTo>
                  <a:cubicBezTo>
                    <a:pt x="6050" y="4289"/>
                    <a:pt x="6107" y="4191"/>
                    <a:pt x="6107" y="4101"/>
                  </a:cubicBezTo>
                  <a:lnTo>
                    <a:pt x="6107" y="2275"/>
                  </a:lnTo>
                  <a:cubicBezTo>
                    <a:pt x="6107" y="2206"/>
                    <a:pt x="6051" y="2150"/>
                    <a:pt x="5982" y="2150"/>
                  </a:cubicBezTo>
                  <a:cubicBezTo>
                    <a:pt x="5912" y="2150"/>
                    <a:pt x="5857" y="2206"/>
                    <a:pt x="5857" y="2275"/>
                  </a:cubicBezTo>
                  <a:lnTo>
                    <a:pt x="5857" y="4099"/>
                  </a:lnTo>
                  <a:cubicBezTo>
                    <a:pt x="5855" y="4105"/>
                    <a:pt x="5850" y="4115"/>
                    <a:pt x="5845" y="4119"/>
                  </a:cubicBezTo>
                  <a:lnTo>
                    <a:pt x="3178" y="5658"/>
                  </a:lnTo>
                  <a:lnTo>
                    <a:pt x="3178" y="2453"/>
                  </a:lnTo>
                  <a:cubicBezTo>
                    <a:pt x="3181" y="2452"/>
                    <a:pt x="3183" y="2451"/>
                    <a:pt x="3186" y="2450"/>
                  </a:cubicBezTo>
                  <a:lnTo>
                    <a:pt x="5857" y="1012"/>
                  </a:lnTo>
                  <a:lnTo>
                    <a:pt x="5857" y="1675"/>
                  </a:lnTo>
                  <a:cubicBezTo>
                    <a:pt x="5857" y="1744"/>
                    <a:pt x="5912" y="1800"/>
                    <a:pt x="5982" y="1800"/>
                  </a:cubicBezTo>
                  <a:close/>
                  <a:moveTo>
                    <a:pt x="2211" y="250"/>
                  </a:moveTo>
                  <a:cubicBezTo>
                    <a:pt x="2829" y="250"/>
                    <a:pt x="3333" y="751"/>
                    <a:pt x="3333" y="1366"/>
                  </a:cubicBezTo>
                  <a:cubicBezTo>
                    <a:pt x="3333" y="1459"/>
                    <a:pt x="3321" y="1549"/>
                    <a:pt x="3299" y="1635"/>
                  </a:cubicBezTo>
                  <a:lnTo>
                    <a:pt x="3118" y="1732"/>
                  </a:lnTo>
                  <a:cubicBezTo>
                    <a:pt x="3165" y="1619"/>
                    <a:pt x="3190" y="1495"/>
                    <a:pt x="3190" y="1366"/>
                  </a:cubicBezTo>
                  <a:cubicBezTo>
                    <a:pt x="3190" y="828"/>
                    <a:pt x="2751" y="391"/>
                    <a:pt x="2211" y="391"/>
                  </a:cubicBezTo>
                  <a:cubicBezTo>
                    <a:pt x="1856" y="391"/>
                    <a:pt x="1545" y="580"/>
                    <a:pt x="1373" y="863"/>
                  </a:cubicBezTo>
                  <a:lnTo>
                    <a:pt x="1248" y="796"/>
                  </a:lnTo>
                  <a:cubicBezTo>
                    <a:pt x="1444" y="469"/>
                    <a:pt x="1802" y="250"/>
                    <a:pt x="2211" y="250"/>
                  </a:cubicBezTo>
                  <a:close/>
                  <a:moveTo>
                    <a:pt x="2587" y="1516"/>
                  </a:moveTo>
                  <a:cubicBezTo>
                    <a:pt x="2575" y="1362"/>
                    <a:pt x="2446" y="1241"/>
                    <a:pt x="2290" y="1241"/>
                  </a:cubicBezTo>
                  <a:lnTo>
                    <a:pt x="2133" y="1241"/>
                  </a:lnTo>
                  <a:cubicBezTo>
                    <a:pt x="2106" y="1241"/>
                    <a:pt x="2085" y="1219"/>
                    <a:pt x="2085" y="1193"/>
                  </a:cubicBezTo>
                  <a:cubicBezTo>
                    <a:pt x="2085" y="1167"/>
                    <a:pt x="2106" y="1146"/>
                    <a:pt x="2133" y="1146"/>
                  </a:cubicBezTo>
                  <a:lnTo>
                    <a:pt x="2380" y="1146"/>
                  </a:lnTo>
                  <a:cubicBezTo>
                    <a:pt x="2449" y="1146"/>
                    <a:pt x="2505" y="1090"/>
                    <a:pt x="2505" y="1021"/>
                  </a:cubicBezTo>
                  <a:cubicBezTo>
                    <a:pt x="2505" y="952"/>
                    <a:pt x="2449" y="896"/>
                    <a:pt x="2380" y="896"/>
                  </a:cubicBezTo>
                  <a:lnTo>
                    <a:pt x="2336" y="896"/>
                  </a:lnTo>
                  <a:lnTo>
                    <a:pt x="2336" y="849"/>
                  </a:lnTo>
                  <a:cubicBezTo>
                    <a:pt x="2336" y="780"/>
                    <a:pt x="2280" y="724"/>
                    <a:pt x="2211" y="724"/>
                  </a:cubicBezTo>
                  <a:cubicBezTo>
                    <a:pt x="2142" y="724"/>
                    <a:pt x="2086" y="780"/>
                    <a:pt x="2086" y="849"/>
                  </a:cubicBezTo>
                  <a:lnTo>
                    <a:pt x="2086" y="900"/>
                  </a:lnTo>
                  <a:cubicBezTo>
                    <a:pt x="1969" y="919"/>
                    <a:pt x="1875" y="1005"/>
                    <a:pt x="1845" y="1117"/>
                  </a:cubicBezTo>
                  <a:lnTo>
                    <a:pt x="1593" y="981"/>
                  </a:lnTo>
                  <a:cubicBezTo>
                    <a:pt x="1723" y="777"/>
                    <a:pt x="1951" y="641"/>
                    <a:pt x="2211" y="641"/>
                  </a:cubicBezTo>
                  <a:cubicBezTo>
                    <a:pt x="2613" y="641"/>
                    <a:pt x="2940" y="966"/>
                    <a:pt x="2940" y="1366"/>
                  </a:cubicBezTo>
                  <a:cubicBezTo>
                    <a:pt x="2940" y="1474"/>
                    <a:pt x="2916" y="1577"/>
                    <a:pt x="2873" y="1670"/>
                  </a:cubicBezTo>
                  <a:lnTo>
                    <a:pt x="2587" y="1516"/>
                  </a:lnTo>
                  <a:close/>
                  <a:moveTo>
                    <a:pt x="3069" y="2229"/>
                  </a:moveTo>
                  <a:cubicBezTo>
                    <a:pt x="3062" y="2232"/>
                    <a:pt x="3045" y="2232"/>
                    <a:pt x="3039" y="2230"/>
                  </a:cubicBezTo>
                  <a:lnTo>
                    <a:pt x="584" y="908"/>
                  </a:lnTo>
                  <a:lnTo>
                    <a:pt x="584" y="722"/>
                  </a:lnTo>
                  <a:lnTo>
                    <a:pt x="2921" y="1980"/>
                  </a:lnTo>
                  <a:cubicBezTo>
                    <a:pt x="2969" y="2005"/>
                    <a:pt x="3019" y="2011"/>
                    <a:pt x="3053" y="2011"/>
                  </a:cubicBezTo>
                  <a:cubicBezTo>
                    <a:pt x="3087" y="2011"/>
                    <a:pt x="3138" y="2005"/>
                    <a:pt x="3186" y="1980"/>
                  </a:cubicBezTo>
                  <a:lnTo>
                    <a:pt x="5523" y="722"/>
                  </a:lnTo>
                  <a:lnTo>
                    <a:pt x="5523" y="908"/>
                  </a:lnTo>
                  <a:lnTo>
                    <a:pt x="3069" y="222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89" name="Freeform 9"/>
            <p:cNvSpPr>
              <a:spLocks noEditPoints="1"/>
            </p:cNvSpPr>
            <p:nvPr/>
          </p:nvSpPr>
          <p:spPr bwMode="auto">
            <a:xfrm>
              <a:off x="976313" y="1892300"/>
              <a:ext cx="206375" cy="236538"/>
            </a:xfrm>
            <a:custGeom>
              <a:avLst/>
              <a:gdLst>
                <a:gd name="T0" fmla="*/ 1587 w 1845"/>
                <a:gd name="T1" fmla="*/ 23 h 2122"/>
                <a:gd name="T2" fmla="*/ 139 w 1845"/>
                <a:gd name="T3" fmla="*/ 803 h 2122"/>
                <a:gd name="T4" fmla="*/ 0 w 1845"/>
                <a:gd name="T5" fmla="*/ 1036 h 2122"/>
                <a:gd name="T6" fmla="*/ 0 w 1845"/>
                <a:gd name="T7" fmla="*/ 1945 h 2122"/>
                <a:gd name="T8" fmla="*/ 167 w 1845"/>
                <a:gd name="T9" fmla="*/ 2122 h 2122"/>
                <a:gd name="T10" fmla="*/ 167 w 1845"/>
                <a:gd name="T11" fmla="*/ 2122 h 2122"/>
                <a:gd name="T12" fmla="*/ 258 w 1845"/>
                <a:gd name="T13" fmla="*/ 2099 h 2122"/>
                <a:gd name="T14" fmla="*/ 1706 w 1845"/>
                <a:gd name="T15" fmla="*/ 1319 h 2122"/>
                <a:gd name="T16" fmla="*/ 1845 w 1845"/>
                <a:gd name="T17" fmla="*/ 1086 h 2122"/>
                <a:gd name="T18" fmla="*/ 1845 w 1845"/>
                <a:gd name="T19" fmla="*/ 177 h 2122"/>
                <a:gd name="T20" fmla="*/ 1678 w 1845"/>
                <a:gd name="T21" fmla="*/ 0 h 2122"/>
                <a:gd name="T22" fmla="*/ 1587 w 1845"/>
                <a:gd name="T23" fmla="*/ 23 h 2122"/>
                <a:gd name="T24" fmla="*/ 1595 w 1845"/>
                <a:gd name="T25" fmla="*/ 1084 h 2122"/>
                <a:gd name="T26" fmla="*/ 1585 w 1845"/>
                <a:gd name="T27" fmla="*/ 1100 h 2122"/>
                <a:gd name="T28" fmla="*/ 250 w 1845"/>
                <a:gd name="T29" fmla="*/ 1819 h 2122"/>
                <a:gd name="T30" fmla="*/ 250 w 1845"/>
                <a:gd name="T31" fmla="*/ 1038 h 2122"/>
                <a:gd name="T32" fmla="*/ 259 w 1845"/>
                <a:gd name="T33" fmla="*/ 1022 h 2122"/>
                <a:gd name="T34" fmla="*/ 1595 w 1845"/>
                <a:gd name="T35" fmla="*/ 303 h 2122"/>
                <a:gd name="T36" fmla="*/ 1595 w 1845"/>
                <a:gd name="T37" fmla="*/ 1084 h 2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5" h="2122" extrusionOk="0">
                  <a:moveTo>
                    <a:pt x="1587" y="23"/>
                  </a:moveTo>
                  <a:lnTo>
                    <a:pt x="139" y="803"/>
                  </a:lnTo>
                  <a:cubicBezTo>
                    <a:pt x="58" y="846"/>
                    <a:pt x="0" y="944"/>
                    <a:pt x="0" y="1036"/>
                  </a:cubicBezTo>
                  <a:lnTo>
                    <a:pt x="0" y="1945"/>
                  </a:lnTo>
                  <a:cubicBezTo>
                    <a:pt x="0" y="2046"/>
                    <a:pt x="72" y="2122"/>
                    <a:pt x="167" y="2122"/>
                  </a:cubicBezTo>
                  <a:lnTo>
                    <a:pt x="167" y="2122"/>
                  </a:lnTo>
                  <a:cubicBezTo>
                    <a:pt x="198" y="2122"/>
                    <a:pt x="228" y="2114"/>
                    <a:pt x="258" y="2099"/>
                  </a:cubicBezTo>
                  <a:lnTo>
                    <a:pt x="1706" y="1319"/>
                  </a:lnTo>
                  <a:cubicBezTo>
                    <a:pt x="1786" y="1276"/>
                    <a:pt x="1845" y="1178"/>
                    <a:pt x="1845" y="1086"/>
                  </a:cubicBezTo>
                  <a:lnTo>
                    <a:pt x="1845" y="177"/>
                  </a:lnTo>
                  <a:cubicBezTo>
                    <a:pt x="1845" y="76"/>
                    <a:pt x="1773" y="0"/>
                    <a:pt x="1678" y="0"/>
                  </a:cubicBezTo>
                  <a:cubicBezTo>
                    <a:pt x="1647" y="0"/>
                    <a:pt x="1617" y="8"/>
                    <a:pt x="1587" y="23"/>
                  </a:cubicBezTo>
                  <a:close/>
                  <a:moveTo>
                    <a:pt x="1595" y="1084"/>
                  </a:moveTo>
                  <a:cubicBezTo>
                    <a:pt x="1594" y="1089"/>
                    <a:pt x="1589" y="1097"/>
                    <a:pt x="1585" y="1100"/>
                  </a:cubicBezTo>
                  <a:lnTo>
                    <a:pt x="250" y="1819"/>
                  </a:lnTo>
                  <a:lnTo>
                    <a:pt x="250" y="1038"/>
                  </a:lnTo>
                  <a:cubicBezTo>
                    <a:pt x="251" y="1033"/>
                    <a:pt x="256" y="1025"/>
                    <a:pt x="259" y="1022"/>
                  </a:cubicBezTo>
                  <a:lnTo>
                    <a:pt x="1595" y="303"/>
                  </a:lnTo>
                  <a:lnTo>
                    <a:pt x="1595" y="10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90" name="Freeform 10"/>
            <p:cNvSpPr>
              <a:spLocks noEditPoints="1"/>
            </p:cNvSpPr>
            <p:nvPr/>
          </p:nvSpPr>
          <p:spPr bwMode="auto">
            <a:xfrm>
              <a:off x="774700" y="1403350"/>
              <a:ext cx="149225" cy="149225"/>
            </a:xfrm>
            <a:custGeom>
              <a:avLst/>
              <a:gdLst>
                <a:gd name="T0" fmla="*/ 164 w 1339"/>
                <a:gd name="T1" fmla="*/ 879 h 1339"/>
                <a:gd name="T2" fmla="*/ 379 w 1339"/>
                <a:gd name="T3" fmla="*/ 960 h 1339"/>
                <a:gd name="T4" fmla="*/ 461 w 1339"/>
                <a:gd name="T5" fmla="*/ 1176 h 1339"/>
                <a:gd name="T6" fmla="*/ 669 w 1339"/>
                <a:gd name="T7" fmla="*/ 1339 h 1339"/>
                <a:gd name="T8" fmla="*/ 878 w 1339"/>
                <a:gd name="T9" fmla="*/ 1176 h 1339"/>
                <a:gd name="T10" fmla="*/ 960 w 1339"/>
                <a:gd name="T11" fmla="*/ 960 h 1339"/>
                <a:gd name="T12" fmla="*/ 1175 w 1339"/>
                <a:gd name="T13" fmla="*/ 879 h 1339"/>
                <a:gd name="T14" fmla="*/ 1339 w 1339"/>
                <a:gd name="T15" fmla="*/ 670 h 1339"/>
                <a:gd name="T16" fmla="*/ 1175 w 1339"/>
                <a:gd name="T17" fmla="*/ 461 h 1339"/>
                <a:gd name="T18" fmla="*/ 960 w 1339"/>
                <a:gd name="T19" fmla="*/ 380 h 1339"/>
                <a:gd name="T20" fmla="*/ 878 w 1339"/>
                <a:gd name="T21" fmla="*/ 164 h 1339"/>
                <a:gd name="T22" fmla="*/ 669 w 1339"/>
                <a:gd name="T23" fmla="*/ 0 h 1339"/>
                <a:gd name="T24" fmla="*/ 461 w 1339"/>
                <a:gd name="T25" fmla="*/ 164 h 1339"/>
                <a:gd name="T26" fmla="*/ 379 w 1339"/>
                <a:gd name="T27" fmla="*/ 380 h 1339"/>
                <a:gd name="T28" fmla="*/ 164 w 1339"/>
                <a:gd name="T29" fmla="*/ 461 h 1339"/>
                <a:gd name="T30" fmla="*/ 0 w 1339"/>
                <a:gd name="T31" fmla="*/ 670 h 1339"/>
                <a:gd name="T32" fmla="*/ 164 w 1339"/>
                <a:gd name="T33" fmla="*/ 879 h 1339"/>
                <a:gd name="T34" fmla="*/ 669 w 1339"/>
                <a:gd name="T35" fmla="*/ 347 h 1339"/>
                <a:gd name="T36" fmla="*/ 992 w 1339"/>
                <a:gd name="T37" fmla="*/ 670 h 1339"/>
                <a:gd name="T38" fmla="*/ 669 w 1339"/>
                <a:gd name="T39" fmla="*/ 993 h 1339"/>
                <a:gd name="T40" fmla="*/ 347 w 1339"/>
                <a:gd name="T41" fmla="*/ 670 h 1339"/>
                <a:gd name="T42" fmla="*/ 669 w 1339"/>
                <a:gd name="T43" fmla="*/ 347 h 1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39" h="1339" extrusionOk="0">
                  <a:moveTo>
                    <a:pt x="164" y="879"/>
                  </a:moveTo>
                  <a:cubicBezTo>
                    <a:pt x="279" y="907"/>
                    <a:pt x="348" y="928"/>
                    <a:pt x="379" y="960"/>
                  </a:cubicBezTo>
                  <a:cubicBezTo>
                    <a:pt x="411" y="991"/>
                    <a:pt x="432" y="1060"/>
                    <a:pt x="461" y="1176"/>
                  </a:cubicBezTo>
                  <a:cubicBezTo>
                    <a:pt x="484" y="1272"/>
                    <a:pt x="570" y="1339"/>
                    <a:pt x="669" y="1339"/>
                  </a:cubicBezTo>
                  <a:cubicBezTo>
                    <a:pt x="769" y="1339"/>
                    <a:pt x="855" y="1272"/>
                    <a:pt x="878" y="1176"/>
                  </a:cubicBezTo>
                  <a:cubicBezTo>
                    <a:pt x="907" y="1060"/>
                    <a:pt x="928" y="991"/>
                    <a:pt x="960" y="960"/>
                  </a:cubicBezTo>
                  <a:cubicBezTo>
                    <a:pt x="991" y="928"/>
                    <a:pt x="1060" y="907"/>
                    <a:pt x="1175" y="879"/>
                  </a:cubicBezTo>
                  <a:cubicBezTo>
                    <a:pt x="1272" y="855"/>
                    <a:pt x="1339" y="769"/>
                    <a:pt x="1339" y="670"/>
                  </a:cubicBezTo>
                  <a:cubicBezTo>
                    <a:pt x="1339" y="570"/>
                    <a:pt x="1272" y="484"/>
                    <a:pt x="1175" y="461"/>
                  </a:cubicBezTo>
                  <a:cubicBezTo>
                    <a:pt x="1060" y="433"/>
                    <a:pt x="991" y="411"/>
                    <a:pt x="960" y="380"/>
                  </a:cubicBezTo>
                  <a:cubicBezTo>
                    <a:pt x="928" y="348"/>
                    <a:pt x="907" y="280"/>
                    <a:pt x="878" y="164"/>
                  </a:cubicBezTo>
                  <a:cubicBezTo>
                    <a:pt x="855" y="67"/>
                    <a:pt x="769" y="0"/>
                    <a:pt x="669" y="0"/>
                  </a:cubicBezTo>
                  <a:cubicBezTo>
                    <a:pt x="570" y="0"/>
                    <a:pt x="484" y="67"/>
                    <a:pt x="461" y="164"/>
                  </a:cubicBezTo>
                  <a:cubicBezTo>
                    <a:pt x="432" y="280"/>
                    <a:pt x="411" y="348"/>
                    <a:pt x="379" y="380"/>
                  </a:cubicBezTo>
                  <a:cubicBezTo>
                    <a:pt x="348" y="411"/>
                    <a:pt x="279" y="433"/>
                    <a:pt x="164" y="461"/>
                  </a:cubicBezTo>
                  <a:cubicBezTo>
                    <a:pt x="67" y="485"/>
                    <a:pt x="0" y="570"/>
                    <a:pt x="0" y="670"/>
                  </a:cubicBezTo>
                  <a:cubicBezTo>
                    <a:pt x="0" y="769"/>
                    <a:pt x="67" y="855"/>
                    <a:pt x="164" y="879"/>
                  </a:cubicBezTo>
                  <a:close/>
                  <a:moveTo>
                    <a:pt x="669" y="347"/>
                  </a:moveTo>
                  <a:cubicBezTo>
                    <a:pt x="729" y="535"/>
                    <a:pt x="804" y="610"/>
                    <a:pt x="992" y="670"/>
                  </a:cubicBezTo>
                  <a:cubicBezTo>
                    <a:pt x="804" y="730"/>
                    <a:pt x="729" y="804"/>
                    <a:pt x="669" y="993"/>
                  </a:cubicBezTo>
                  <a:cubicBezTo>
                    <a:pt x="610" y="804"/>
                    <a:pt x="535" y="730"/>
                    <a:pt x="347" y="670"/>
                  </a:cubicBezTo>
                  <a:cubicBezTo>
                    <a:pt x="535" y="610"/>
                    <a:pt x="610" y="535"/>
                    <a:pt x="669" y="34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91" name="Freeform 11"/>
            <p:cNvSpPr>
              <a:spLocks noEditPoints="1"/>
            </p:cNvSpPr>
            <p:nvPr/>
          </p:nvSpPr>
          <p:spPr bwMode="auto">
            <a:xfrm>
              <a:off x="603250" y="1497013"/>
              <a:ext cx="192088" cy="192088"/>
            </a:xfrm>
            <a:custGeom>
              <a:avLst/>
              <a:gdLst>
                <a:gd name="T0" fmla="*/ 188 w 1719"/>
                <a:gd name="T1" fmla="*/ 1099 h 1719"/>
                <a:gd name="T2" fmla="*/ 620 w 1719"/>
                <a:gd name="T3" fmla="*/ 1531 h 1719"/>
                <a:gd name="T4" fmla="*/ 860 w 1719"/>
                <a:gd name="T5" fmla="*/ 1719 h 1719"/>
                <a:gd name="T6" fmla="*/ 1099 w 1719"/>
                <a:gd name="T7" fmla="*/ 1531 h 1719"/>
                <a:gd name="T8" fmla="*/ 1531 w 1719"/>
                <a:gd name="T9" fmla="*/ 1099 h 1719"/>
                <a:gd name="T10" fmla="*/ 1719 w 1719"/>
                <a:gd name="T11" fmla="*/ 859 h 1719"/>
                <a:gd name="T12" fmla="*/ 1531 w 1719"/>
                <a:gd name="T13" fmla="*/ 620 h 1719"/>
                <a:gd name="T14" fmla="*/ 1099 w 1719"/>
                <a:gd name="T15" fmla="*/ 188 h 1719"/>
                <a:gd name="T16" fmla="*/ 860 w 1719"/>
                <a:gd name="T17" fmla="*/ 0 h 1719"/>
                <a:gd name="T18" fmla="*/ 620 w 1719"/>
                <a:gd name="T19" fmla="*/ 188 h 1719"/>
                <a:gd name="T20" fmla="*/ 188 w 1719"/>
                <a:gd name="T21" fmla="*/ 620 h 1719"/>
                <a:gd name="T22" fmla="*/ 0 w 1719"/>
                <a:gd name="T23" fmla="*/ 859 h 1719"/>
                <a:gd name="T24" fmla="*/ 188 w 1719"/>
                <a:gd name="T25" fmla="*/ 1099 h 1719"/>
                <a:gd name="T26" fmla="*/ 860 w 1719"/>
                <a:gd name="T27" fmla="*/ 261 h 1719"/>
                <a:gd name="T28" fmla="*/ 1458 w 1719"/>
                <a:gd name="T29" fmla="*/ 859 h 1719"/>
                <a:gd name="T30" fmla="*/ 860 w 1719"/>
                <a:gd name="T31" fmla="*/ 1457 h 1719"/>
                <a:gd name="T32" fmla="*/ 261 w 1719"/>
                <a:gd name="T33" fmla="*/ 859 h 1719"/>
                <a:gd name="T34" fmla="*/ 860 w 1719"/>
                <a:gd name="T35" fmla="*/ 261 h 1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19" h="1719" extrusionOk="0">
                  <a:moveTo>
                    <a:pt x="188" y="1099"/>
                  </a:moveTo>
                  <a:cubicBezTo>
                    <a:pt x="525" y="1181"/>
                    <a:pt x="538" y="1193"/>
                    <a:pt x="620" y="1531"/>
                  </a:cubicBezTo>
                  <a:cubicBezTo>
                    <a:pt x="647" y="1641"/>
                    <a:pt x="746" y="1719"/>
                    <a:pt x="860" y="1719"/>
                  </a:cubicBezTo>
                  <a:cubicBezTo>
                    <a:pt x="973" y="1719"/>
                    <a:pt x="1072" y="1642"/>
                    <a:pt x="1099" y="1531"/>
                  </a:cubicBezTo>
                  <a:cubicBezTo>
                    <a:pt x="1182" y="1193"/>
                    <a:pt x="1194" y="1181"/>
                    <a:pt x="1531" y="1099"/>
                  </a:cubicBezTo>
                  <a:cubicBezTo>
                    <a:pt x="1642" y="1071"/>
                    <a:pt x="1719" y="973"/>
                    <a:pt x="1719" y="859"/>
                  </a:cubicBezTo>
                  <a:cubicBezTo>
                    <a:pt x="1719" y="745"/>
                    <a:pt x="1642" y="647"/>
                    <a:pt x="1531" y="620"/>
                  </a:cubicBezTo>
                  <a:cubicBezTo>
                    <a:pt x="1194" y="537"/>
                    <a:pt x="1182" y="525"/>
                    <a:pt x="1099" y="188"/>
                  </a:cubicBezTo>
                  <a:cubicBezTo>
                    <a:pt x="1072" y="77"/>
                    <a:pt x="973" y="0"/>
                    <a:pt x="860" y="0"/>
                  </a:cubicBezTo>
                  <a:cubicBezTo>
                    <a:pt x="746" y="0"/>
                    <a:pt x="647" y="77"/>
                    <a:pt x="620" y="188"/>
                  </a:cubicBezTo>
                  <a:cubicBezTo>
                    <a:pt x="538" y="525"/>
                    <a:pt x="525" y="537"/>
                    <a:pt x="188" y="620"/>
                  </a:cubicBezTo>
                  <a:cubicBezTo>
                    <a:pt x="77" y="647"/>
                    <a:pt x="0" y="745"/>
                    <a:pt x="0" y="859"/>
                  </a:cubicBezTo>
                  <a:cubicBezTo>
                    <a:pt x="0" y="973"/>
                    <a:pt x="77" y="1071"/>
                    <a:pt x="188" y="1099"/>
                  </a:cubicBezTo>
                  <a:close/>
                  <a:moveTo>
                    <a:pt x="860" y="261"/>
                  </a:moveTo>
                  <a:cubicBezTo>
                    <a:pt x="961" y="670"/>
                    <a:pt x="1049" y="758"/>
                    <a:pt x="1458" y="859"/>
                  </a:cubicBezTo>
                  <a:cubicBezTo>
                    <a:pt x="1049" y="961"/>
                    <a:pt x="961" y="1049"/>
                    <a:pt x="860" y="1457"/>
                  </a:cubicBezTo>
                  <a:cubicBezTo>
                    <a:pt x="758" y="1049"/>
                    <a:pt x="670" y="961"/>
                    <a:pt x="261" y="859"/>
                  </a:cubicBezTo>
                  <a:cubicBezTo>
                    <a:pt x="670" y="758"/>
                    <a:pt x="758" y="669"/>
                    <a:pt x="860" y="2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</p:grpSp>
      <p:sp>
        <p:nvSpPr>
          <p:cNvPr id="92" name="Прямоугольник 91"/>
          <p:cNvSpPr/>
          <p:nvPr/>
        </p:nvSpPr>
        <p:spPr bwMode="auto">
          <a:xfrm>
            <a:off x="1536491" y="4340935"/>
            <a:ext cx="6096000" cy="646331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>
              <a:defRPr/>
            </a:pPr>
            <a:r>
              <a:rPr lang="ru-RU" sz="1800" b="1">
                <a:solidFill>
                  <a:srgbClr val="000000"/>
                </a:solidFill>
                <a:latin typeface="Proxima Nova Rg"/>
              </a:rPr>
              <a:t>Повышение квалификации </a:t>
            </a:r>
            <a:r>
              <a:rPr lang="ru-RU" sz="1800">
                <a:solidFill>
                  <a:srgbClr val="000000"/>
                </a:solidFill>
                <a:latin typeface="Proxima Nova Rg"/>
              </a:rPr>
              <a:t>и экспертная отраслевая поддержка фермеров </a:t>
            </a:r>
            <a:endParaRPr/>
          </a:p>
        </p:txBody>
      </p:sp>
      <p:grpSp>
        <p:nvGrpSpPr>
          <p:cNvPr id="93" name="Group 209"/>
          <p:cNvGrpSpPr/>
          <p:nvPr/>
        </p:nvGrpSpPr>
        <p:grpSpPr bwMode="auto">
          <a:xfrm>
            <a:off x="734980" y="5527917"/>
            <a:ext cx="559928" cy="614877"/>
            <a:chOff x="1592263" y="2587626"/>
            <a:chExt cx="760413" cy="835025"/>
          </a:xfrm>
          <a:solidFill>
            <a:schemeClr val="tx1"/>
          </a:solidFill>
        </p:grpSpPr>
        <p:sp>
          <p:nvSpPr>
            <p:cNvPr id="94" name="Freeform 86"/>
            <p:cNvSpPr>
              <a:spLocks noEditPoints="1"/>
            </p:cNvSpPr>
            <p:nvPr/>
          </p:nvSpPr>
          <p:spPr bwMode="auto">
            <a:xfrm>
              <a:off x="1592263" y="2587626"/>
              <a:ext cx="760413" cy="835025"/>
            </a:xfrm>
            <a:custGeom>
              <a:avLst/>
              <a:gdLst>
                <a:gd name="T0" fmla="*/ 7765 w 7765"/>
                <a:gd name="T1" fmla="*/ 3126 h 8517"/>
                <a:gd name="T2" fmla="*/ 5929 w 7765"/>
                <a:gd name="T3" fmla="*/ 1071 h 8517"/>
                <a:gd name="T4" fmla="*/ 1836 w 7765"/>
                <a:gd name="T5" fmla="*/ 265 h 8517"/>
                <a:gd name="T6" fmla="*/ 140 w 7765"/>
                <a:gd name="T7" fmla="*/ 2822 h 8517"/>
                <a:gd name="T8" fmla="*/ 458 w 7765"/>
                <a:gd name="T9" fmla="*/ 3765 h 8517"/>
                <a:gd name="T10" fmla="*/ 44 w 7765"/>
                <a:gd name="T11" fmla="*/ 7437 h 8517"/>
                <a:gd name="T12" fmla="*/ 955 w 7765"/>
                <a:gd name="T13" fmla="*/ 7399 h 8517"/>
                <a:gd name="T14" fmla="*/ 1202 w 7765"/>
                <a:gd name="T15" fmla="*/ 4910 h 8517"/>
                <a:gd name="T16" fmla="*/ 1570 w 7765"/>
                <a:gd name="T17" fmla="*/ 7399 h 8517"/>
                <a:gd name="T18" fmla="*/ 1670 w 7765"/>
                <a:gd name="T19" fmla="*/ 8309 h 8517"/>
                <a:gd name="T20" fmla="*/ 6095 w 7765"/>
                <a:gd name="T21" fmla="*/ 7649 h 8517"/>
                <a:gd name="T22" fmla="*/ 7350 w 7765"/>
                <a:gd name="T23" fmla="*/ 4661 h 8517"/>
                <a:gd name="T24" fmla="*/ 7365 w 7765"/>
                <a:gd name="T25" fmla="*/ 3515 h 8517"/>
                <a:gd name="T26" fmla="*/ 7365 w 7765"/>
                <a:gd name="T27" fmla="*/ 2975 h 8517"/>
                <a:gd name="T28" fmla="*/ 7376 w 7765"/>
                <a:gd name="T29" fmla="*/ 1847 h 8517"/>
                <a:gd name="T30" fmla="*/ 7334 w 7765"/>
                <a:gd name="T31" fmla="*/ 2183 h 8517"/>
                <a:gd name="T32" fmla="*/ 6850 w 7765"/>
                <a:gd name="T33" fmla="*/ 1321 h 8517"/>
                <a:gd name="T34" fmla="*/ 5903 w 7765"/>
                <a:gd name="T35" fmla="*/ 2637 h 8517"/>
                <a:gd name="T36" fmla="*/ 5583 w 7765"/>
                <a:gd name="T37" fmla="*/ 3129 h 8517"/>
                <a:gd name="T38" fmla="*/ 5679 w 7765"/>
                <a:gd name="T39" fmla="*/ 2150 h 8517"/>
                <a:gd name="T40" fmla="*/ 5371 w 7765"/>
                <a:gd name="T41" fmla="*/ 1183 h 8517"/>
                <a:gd name="T42" fmla="*/ 5333 w 7765"/>
                <a:gd name="T43" fmla="*/ 1433 h 8517"/>
                <a:gd name="T44" fmla="*/ 2432 w 7765"/>
                <a:gd name="T45" fmla="*/ 1433 h 8517"/>
                <a:gd name="T46" fmla="*/ 2394 w 7765"/>
                <a:gd name="T47" fmla="*/ 1183 h 8517"/>
                <a:gd name="T48" fmla="*/ 2086 w 7765"/>
                <a:gd name="T49" fmla="*/ 2150 h 8517"/>
                <a:gd name="T50" fmla="*/ 6018 w 7765"/>
                <a:gd name="T51" fmla="*/ 4814 h 8517"/>
                <a:gd name="T52" fmla="*/ 6095 w 7765"/>
                <a:gd name="T53" fmla="*/ 5110 h 8517"/>
                <a:gd name="T54" fmla="*/ 2363 w 7765"/>
                <a:gd name="T55" fmla="*/ 4661 h 8517"/>
                <a:gd name="T56" fmla="*/ 4314 w 7765"/>
                <a:gd name="T57" fmla="*/ 4765 h 8517"/>
                <a:gd name="T58" fmla="*/ 3451 w 7765"/>
                <a:gd name="T59" fmla="*/ 4765 h 8517"/>
                <a:gd name="T60" fmla="*/ 5034 w 7765"/>
                <a:gd name="T61" fmla="*/ 4372 h 8517"/>
                <a:gd name="T62" fmla="*/ 2182 w 7765"/>
                <a:gd name="T63" fmla="*/ 3129 h 8517"/>
                <a:gd name="T64" fmla="*/ 1862 w 7765"/>
                <a:gd name="T65" fmla="*/ 2637 h 8517"/>
                <a:gd name="T66" fmla="*/ 400 w 7765"/>
                <a:gd name="T67" fmla="*/ 2975 h 8517"/>
                <a:gd name="T68" fmla="*/ 400 w 7765"/>
                <a:gd name="T69" fmla="*/ 3515 h 8517"/>
                <a:gd name="T70" fmla="*/ 389 w 7765"/>
                <a:gd name="T71" fmla="*/ 2726 h 8517"/>
                <a:gd name="T72" fmla="*/ 1836 w 7765"/>
                <a:gd name="T73" fmla="*/ 1992 h 8517"/>
                <a:gd name="T74" fmla="*/ 681 w 7765"/>
                <a:gd name="T75" fmla="*/ 2242 h 8517"/>
                <a:gd name="T76" fmla="*/ 2101 w 7765"/>
                <a:gd name="T77" fmla="*/ 3438 h 8517"/>
                <a:gd name="T78" fmla="*/ 681 w 7765"/>
                <a:gd name="T79" fmla="*/ 3500 h 8517"/>
                <a:gd name="T80" fmla="*/ 1670 w 7765"/>
                <a:gd name="T81" fmla="*/ 5110 h 8517"/>
                <a:gd name="T82" fmla="*/ 7472 w 7765"/>
                <a:gd name="T83" fmla="*/ 7399 h 8517"/>
                <a:gd name="T84" fmla="*/ 5845 w 7765"/>
                <a:gd name="T85" fmla="*/ 6770 h 8517"/>
                <a:gd name="T86" fmla="*/ 2121 w 7765"/>
                <a:gd name="T87" fmla="*/ 4910 h 8517"/>
                <a:gd name="T88" fmla="*/ 4563 w 7765"/>
                <a:gd name="T89" fmla="*/ 4977 h 8517"/>
                <a:gd name="T90" fmla="*/ 5845 w 7765"/>
                <a:gd name="T91" fmla="*/ 6155 h 8517"/>
                <a:gd name="T92" fmla="*/ 6563 w 7765"/>
                <a:gd name="T93" fmla="*/ 4941 h 8517"/>
                <a:gd name="T94" fmla="*/ 6018 w 7765"/>
                <a:gd name="T95" fmla="*/ 4564 h 8517"/>
                <a:gd name="T96" fmla="*/ 6153 w 7765"/>
                <a:gd name="T97" fmla="*/ 2952 h 8517"/>
                <a:gd name="T98" fmla="*/ 7084 w 7765"/>
                <a:gd name="T99" fmla="*/ 3500 h 8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765" h="8517" extrusionOk="0">
                  <a:moveTo>
                    <a:pt x="7307" y="3765"/>
                  </a:moveTo>
                  <a:lnTo>
                    <a:pt x="7365" y="3765"/>
                  </a:lnTo>
                  <a:cubicBezTo>
                    <a:pt x="7586" y="3765"/>
                    <a:pt x="7765" y="3585"/>
                    <a:pt x="7765" y="3365"/>
                  </a:cubicBezTo>
                  <a:lnTo>
                    <a:pt x="7765" y="3126"/>
                  </a:lnTo>
                  <a:cubicBezTo>
                    <a:pt x="7765" y="3004"/>
                    <a:pt x="7711" y="2896"/>
                    <a:pt x="7625" y="2822"/>
                  </a:cubicBezTo>
                  <a:lnTo>
                    <a:pt x="7625" y="1847"/>
                  </a:lnTo>
                  <a:cubicBezTo>
                    <a:pt x="7625" y="1419"/>
                    <a:pt x="7277" y="1071"/>
                    <a:pt x="6850" y="1071"/>
                  </a:cubicBezTo>
                  <a:lnTo>
                    <a:pt x="5929" y="1071"/>
                  </a:lnTo>
                  <a:lnTo>
                    <a:pt x="5929" y="963"/>
                  </a:lnTo>
                  <a:cubicBezTo>
                    <a:pt x="5929" y="432"/>
                    <a:pt x="5495" y="0"/>
                    <a:pt x="4961" y="0"/>
                  </a:cubicBezTo>
                  <a:lnTo>
                    <a:pt x="2101" y="0"/>
                  </a:lnTo>
                  <a:cubicBezTo>
                    <a:pt x="1955" y="0"/>
                    <a:pt x="1836" y="119"/>
                    <a:pt x="1836" y="265"/>
                  </a:cubicBezTo>
                  <a:lnTo>
                    <a:pt x="1836" y="1071"/>
                  </a:lnTo>
                  <a:lnTo>
                    <a:pt x="915" y="1071"/>
                  </a:lnTo>
                  <a:cubicBezTo>
                    <a:pt x="487" y="1071"/>
                    <a:pt x="140" y="1419"/>
                    <a:pt x="140" y="1847"/>
                  </a:cubicBezTo>
                  <a:lnTo>
                    <a:pt x="140" y="2822"/>
                  </a:lnTo>
                  <a:cubicBezTo>
                    <a:pt x="54" y="2896"/>
                    <a:pt x="0" y="3004"/>
                    <a:pt x="0" y="3126"/>
                  </a:cubicBezTo>
                  <a:lnTo>
                    <a:pt x="0" y="3365"/>
                  </a:lnTo>
                  <a:cubicBezTo>
                    <a:pt x="0" y="3585"/>
                    <a:pt x="179" y="3765"/>
                    <a:pt x="400" y="3765"/>
                  </a:cubicBezTo>
                  <a:lnTo>
                    <a:pt x="458" y="3765"/>
                  </a:lnTo>
                  <a:cubicBezTo>
                    <a:pt x="538" y="4153"/>
                    <a:pt x="790" y="4479"/>
                    <a:pt x="1131" y="4661"/>
                  </a:cubicBezTo>
                  <a:lnTo>
                    <a:pt x="415" y="4661"/>
                  </a:lnTo>
                  <a:cubicBezTo>
                    <a:pt x="210" y="4661"/>
                    <a:pt x="44" y="4827"/>
                    <a:pt x="44" y="5032"/>
                  </a:cubicBezTo>
                  <a:lnTo>
                    <a:pt x="44" y="7437"/>
                  </a:lnTo>
                  <a:cubicBezTo>
                    <a:pt x="44" y="7554"/>
                    <a:pt x="139" y="7649"/>
                    <a:pt x="256" y="7649"/>
                  </a:cubicBezTo>
                  <a:lnTo>
                    <a:pt x="955" y="7649"/>
                  </a:lnTo>
                  <a:cubicBezTo>
                    <a:pt x="1024" y="7649"/>
                    <a:pt x="1080" y="7593"/>
                    <a:pt x="1080" y="7524"/>
                  </a:cubicBezTo>
                  <a:cubicBezTo>
                    <a:pt x="1080" y="7455"/>
                    <a:pt x="1024" y="7399"/>
                    <a:pt x="955" y="7399"/>
                  </a:cubicBezTo>
                  <a:lnTo>
                    <a:pt x="293" y="7399"/>
                  </a:lnTo>
                  <a:lnTo>
                    <a:pt x="293" y="5032"/>
                  </a:lnTo>
                  <a:cubicBezTo>
                    <a:pt x="293" y="4965"/>
                    <a:pt x="348" y="4910"/>
                    <a:pt x="415" y="4910"/>
                  </a:cubicBezTo>
                  <a:lnTo>
                    <a:pt x="1202" y="4910"/>
                  </a:lnTo>
                  <a:lnTo>
                    <a:pt x="1202" y="4941"/>
                  </a:lnTo>
                  <a:cubicBezTo>
                    <a:pt x="1202" y="5215"/>
                    <a:pt x="1406" y="5442"/>
                    <a:pt x="1670" y="5480"/>
                  </a:cubicBezTo>
                  <a:lnTo>
                    <a:pt x="1670" y="7399"/>
                  </a:lnTo>
                  <a:lnTo>
                    <a:pt x="1570" y="7399"/>
                  </a:lnTo>
                  <a:cubicBezTo>
                    <a:pt x="1501" y="7399"/>
                    <a:pt x="1446" y="7455"/>
                    <a:pt x="1446" y="7524"/>
                  </a:cubicBezTo>
                  <a:cubicBezTo>
                    <a:pt x="1446" y="7593"/>
                    <a:pt x="1501" y="7649"/>
                    <a:pt x="1570" y="7649"/>
                  </a:cubicBezTo>
                  <a:lnTo>
                    <a:pt x="1670" y="7649"/>
                  </a:lnTo>
                  <a:lnTo>
                    <a:pt x="1670" y="8309"/>
                  </a:lnTo>
                  <a:cubicBezTo>
                    <a:pt x="1670" y="8424"/>
                    <a:pt x="1764" y="8517"/>
                    <a:pt x="1879" y="8517"/>
                  </a:cubicBezTo>
                  <a:lnTo>
                    <a:pt x="5886" y="8517"/>
                  </a:lnTo>
                  <a:cubicBezTo>
                    <a:pt x="6001" y="8517"/>
                    <a:pt x="6095" y="8424"/>
                    <a:pt x="6095" y="8309"/>
                  </a:cubicBezTo>
                  <a:lnTo>
                    <a:pt x="6095" y="7649"/>
                  </a:lnTo>
                  <a:lnTo>
                    <a:pt x="7509" y="7649"/>
                  </a:lnTo>
                  <a:cubicBezTo>
                    <a:pt x="7626" y="7649"/>
                    <a:pt x="7721" y="7554"/>
                    <a:pt x="7721" y="7437"/>
                  </a:cubicBezTo>
                  <a:lnTo>
                    <a:pt x="7721" y="5032"/>
                  </a:lnTo>
                  <a:cubicBezTo>
                    <a:pt x="7721" y="4827"/>
                    <a:pt x="7555" y="4661"/>
                    <a:pt x="7350" y="4661"/>
                  </a:cubicBezTo>
                  <a:lnTo>
                    <a:pt x="6634" y="4661"/>
                  </a:lnTo>
                  <a:cubicBezTo>
                    <a:pt x="6975" y="4479"/>
                    <a:pt x="7227" y="4153"/>
                    <a:pt x="7307" y="3765"/>
                  </a:cubicBezTo>
                  <a:close/>
                  <a:moveTo>
                    <a:pt x="7516" y="3365"/>
                  </a:moveTo>
                  <a:cubicBezTo>
                    <a:pt x="7516" y="3448"/>
                    <a:pt x="7448" y="3515"/>
                    <a:pt x="7365" y="3515"/>
                  </a:cubicBezTo>
                  <a:lnTo>
                    <a:pt x="7333" y="3515"/>
                  </a:lnTo>
                  <a:cubicBezTo>
                    <a:pt x="7333" y="3510"/>
                    <a:pt x="7334" y="3505"/>
                    <a:pt x="7334" y="3500"/>
                  </a:cubicBezTo>
                  <a:lnTo>
                    <a:pt x="7334" y="2975"/>
                  </a:lnTo>
                  <a:lnTo>
                    <a:pt x="7365" y="2975"/>
                  </a:lnTo>
                  <a:cubicBezTo>
                    <a:pt x="7448" y="2975"/>
                    <a:pt x="7516" y="3043"/>
                    <a:pt x="7516" y="3126"/>
                  </a:cubicBezTo>
                  <a:lnTo>
                    <a:pt x="7516" y="3365"/>
                  </a:lnTo>
                  <a:close/>
                  <a:moveTo>
                    <a:pt x="6850" y="1321"/>
                  </a:moveTo>
                  <a:cubicBezTo>
                    <a:pt x="7140" y="1321"/>
                    <a:pt x="7376" y="1557"/>
                    <a:pt x="7376" y="1847"/>
                  </a:cubicBezTo>
                  <a:lnTo>
                    <a:pt x="7376" y="2726"/>
                  </a:lnTo>
                  <a:cubicBezTo>
                    <a:pt x="7372" y="2726"/>
                    <a:pt x="7368" y="2726"/>
                    <a:pt x="7365" y="2726"/>
                  </a:cubicBezTo>
                  <a:lnTo>
                    <a:pt x="7334" y="2726"/>
                  </a:lnTo>
                  <a:lnTo>
                    <a:pt x="7334" y="2183"/>
                  </a:lnTo>
                  <a:cubicBezTo>
                    <a:pt x="7334" y="2078"/>
                    <a:pt x="7248" y="1992"/>
                    <a:pt x="7143" y="1992"/>
                  </a:cubicBezTo>
                  <a:lnTo>
                    <a:pt x="5929" y="1992"/>
                  </a:lnTo>
                  <a:lnTo>
                    <a:pt x="5929" y="1321"/>
                  </a:lnTo>
                  <a:lnTo>
                    <a:pt x="6850" y="1321"/>
                  </a:lnTo>
                  <a:close/>
                  <a:moveTo>
                    <a:pt x="5583" y="3129"/>
                  </a:moveTo>
                  <a:lnTo>
                    <a:pt x="5583" y="2399"/>
                  </a:lnTo>
                  <a:lnTo>
                    <a:pt x="5664" y="2399"/>
                  </a:lnTo>
                  <a:cubicBezTo>
                    <a:pt x="5796" y="2399"/>
                    <a:pt x="5903" y="2506"/>
                    <a:pt x="5903" y="2637"/>
                  </a:cubicBezTo>
                  <a:lnTo>
                    <a:pt x="5903" y="2952"/>
                  </a:lnTo>
                  <a:cubicBezTo>
                    <a:pt x="5903" y="3082"/>
                    <a:pt x="5796" y="3189"/>
                    <a:pt x="5664" y="3189"/>
                  </a:cubicBezTo>
                  <a:lnTo>
                    <a:pt x="5582" y="3189"/>
                  </a:lnTo>
                  <a:cubicBezTo>
                    <a:pt x="5582" y="3169"/>
                    <a:pt x="5583" y="3149"/>
                    <a:pt x="5583" y="3129"/>
                  </a:cubicBezTo>
                  <a:close/>
                  <a:moveTo>
                    <a:pt x="2101" y="250"/>
                  </a:moveTo>
                  <a:lnTo>
                    <a:pt x="4961" y="250"/>
                  </a:lnTo>
                  <a:cubicBezTo>
                    <a:pt x="5357" y="250"/>
                    <a:pt x="5679" y="570"/>
                    <a:pt x="5679" y="963"/>
                  </a:cubicBezTo>
                  <a:lnTo>
                    <a:pt x="5679" y="2150"/>
                  </a:lnTo>
                  <a:cubicBezTo>
                    <a:pt x="5674" y="2150"/>
                    <a:pt x="5669" y="2150"/>
                    <a:pt x="5664" y="2150"/>
                  </a:cubicBezTo>
                  <a:lnTo>
                    <a:pt x="5583" y="2150"/>
                  </a:lnTo>
                  <a:lnTo>
                    <a:pt x="5583" y="1395"/>
                  </a:lnTo>
                  <a:cubicBezTo>
                    <a:pt x="5583" y="1278"/>
                    <a:pt x="5488" y="1183"/>
                    <a:pt x="5371" y="1183"/>
                  </a:cubicBezTo>
                  <a:lnTo>
                    <a:pt x="4914" y="1183"/>
                  </a:lnTo>
                  <a:cubicBezTo>
                    <a:pt x="4845" y="1183"/>
                    <a:pt x="4789" y="1239"/>
                    <a:pt x="4789" y="1308"/>
                  </a:cubicBezTo>
                  <a:cubicBezTo>
                    <a:pt x="4789" y="1377"/>
                    <a:pt x="4845" y="1433"/>
                    <a:pt x="4914" y="1433"/>
                  </a:cubicBezTo>
                  <a:lnTo>
                    <a:pt x="5333" y="1433"/>
                  </a:lnTo>
                  <a:lnTo>
                    <a:pt x="5333" y="3129"/>
                  </a:lnTo>
                  <a:cubicBezTo>
                    <a:pt x="5333" y="3924"/>
                    <a:pt x="4682" y="4571"/>
                    <a:pt x="3882" y="4571"/>
                  </a:cubicBezTo>
                  <a:cubicBezTo>
                    <a:pt x="3083" y="4571"/>
                    <a:pt x="2432" y="3924"/>
                    <a:pt x="2432" y="3129"/>
                  </a:cubicBezTo>
                  <a:lnTo>
                    <a:pt x="2432" y="1433"/>
                  </a:lnTo>
                  <a:lnTo>
                    <a:pt x="4315" y="1433"/>
                  </a:lnTo>
                  <a:cubicBezTo>
                    <a:pt x="4384" y="1433"/>
                    <a:pt x="4440" y="1377"/>
                    <a:pt x="4440" y="1308"/>
                  </a:cubicBezTo>
                  <a:cubicBezTo>
                    <a:pt x="4440" y="1239"/>
                    <a:pt x="4384" y="1183"/>
                    <a:pt x="4315" y="1183"/>
                  </a:cubicBezTo>
                  <a:lnTo>
                    <a:pt x="2394" y="1183"/>
                  </a:lnTo>
                  <a:cubicBezTo>
                    <a:pt x="2277" y="1183"/>
                    <a:pt x="2182" y="1278"/>
                    <a:pt x="2182" y="1395"/>
                  </a:cubicBezTo>
                  <a:lnTo>
                    <a:pt x="2182" y="2150"/>
                  </a:lnTo>
                  <a:lnTo>
                    <a:pt x="2101" y="2150"/>
                  </a:lnTo>
                  <a:cubicBezTo>
                    <a:pt x="2096" y="2150"/>
                    <a:pt x="2091" y="2150"/>
                    <a:pt x="2086" y="2150"/>
                  </a:cubicBezTo>
                  <a:lnTo>
                    <a:pt x="2086" y="265"/>
                  </a:lnTo>
                  <a:cubicBezTo>
                    <a:pt x="2086" y="257"/>
                    <a:pt x="2093" y="250"/>
                    <a:pt x="2101" y="250"/>
                  </a:cubicBezTo>
                  <a:close/>
                  <a:moveTo>
                    <a:pt x="5982" y="4813"/>
                  </a:moveTo>
                  <a:cubicBezTo>
                    <a:pt x="5994" y="4814"/>
                    <a:pt x="6006" y="4814"/>
                    <a:pt x="6018" y="4814"/>
                  </a:cubicBezTo>
                  <a:cubicBezTo>
                    <a:pt x="6119" y="4814"/>
                    <a:pt x="6218" y="4802"/>
                    <a:pt x="6313" y="4780"/>
                  </a:cubicBezTo>
                  <a:lnTo>
                    <a:pt x="6313" y="4941"/>
                  </a:lnTo>
                  <a:cubicBezTo>
                    <a:pt x="6313" y="5077"/>
                    <a:pt x="6221" y="5191"/>
                    <a:pt x="6095" y="5225"/>
                  </a:cubicBezTo>
                  <a:lnTo>
                    <a:pt x="6095" y="5110"/>
                  </a:lnTo>
                  <a:cubicBezTo>
                    <a:pt x="6095" y="4996"/>
                    <a:pt x="6052" y="4893"/>
                    <a:pt x="5982" y="4813"/>
                  </a:cubicBezTo>
                  <a:close/>
                  <a:moveTo>
                    <a:pt x="2730" y="4372"/>
                  </a:moveTo>
                  <a:cubicBezTo>
                    <a:pt x="2858" y="4489"/>
                    <a:pt x="3003" y="4586"/>
                    <a:pt x="3161" y="4661"/>
                  </a:cubicBezTo>
                  <a:lnTo>
                    <a:pt x="2363" y="4661"/>
                  </a:lnTo>
                  <a:cubicBezTo>
                    <a:pt x="2502" y="4587"/>
                    <a:pt x="2627" y="4488"/>
                    <a:pt x="2730" y="4372"/>
                  </a:cubicBezTo>
                  <a:close/>
                  <a:moveTo>
                    <a:pt x="3451" y="4765"/>
                  </a:moveTo>
                  <a:cubicBezTo>
                    <a:pt x="3589" y="4801"/>
                    <a:pt x="3734" y="4820"/>
                    <a:pt x="3882" y="4820"/>
                  </a:cubicBezTo>
                  <a:cubicBezTo>
                    <a:pt x="4031" y="4820"/>
                    <a:pt x="4176" y="4801"/>
                    <a:pt x="4314" y="4765"/>
                  </a:cubicBezTo>
                  <a:lnTo>
                    <a:pt x="4314" y="4977"/>
                  </a:lnTo>
                  <a:cubicBezTo>
                    <a:pt x="4314" y="5213"/>
                    <a:pt x="4120" y="5405"/>
                    <a:pt x="3882" y="5405"/>
                  </a:cubicBezTo>
                  <a:cubicBezTo>
                    <a:pt x="3645" y="5405"/>
                    <a:pt x="3451" y="5213"/>
                    <a:pt x="3451" y="4977"/>
                  </a:cubicBezTo>
                  <a:lnTo>
                    <a:pt x="3451" y="4765"/>
                  </a:lnTo>
                  <a:close/>
                  <a:moveTo>
                    <a:pt x="5034" y="4372"/>
                  </a:moveTo>
                  <a:cubicBezTo>
                    <a:pt x="5138" y="4488"/>
                    <a:pt x="5263" y="4587"/>
                    <a:pt x="5402" y="4661"/>
                  </a:cubicBezTo>
                  <a:lnTo>
                    <a:pt x="4603" y="4661"/>
                  </a:lnTo>
                  <a:cubicBezTo>
                    <a:pt x="4762" y="4586"/>
                    <a:pt x="4907" y="4489"/>
                    <a:pt x="5034" y="4372"/>
                  </a:cubicBezTo>
                  <a:close/>
                  <a:moveTo>
                    <a:pt x="1862" y="2637"/>
                  </a:moveTo>
                  <a:cubicBezTo>
                    <a:pt x="1862" y="2506"/>
                    <a:pt x="1969" y="2399"/>
                    <a:pt x="2101" y="2399"/>
                  </a:cubicBezTo>
                  <a:lnTo>
                    <a:pt x="2182" y="2399"/>
                  </a:lnTo>
                  <a:lnTo>
                    <a:pt x="2182" y="3129"/>
                  </a:lnTo>
                  <a:cubicBezTo>
                    <a:pt x="2182" y="3149"/>
                    <a:pt x="2183" y="3169"/>
                    <a:pt x="2183" y="3189"/>
                  </a:cubicBezTo>
                  <a:lnTo>
                    <a:pt x="2101" y="3189"/>
                  </a:lnTo>
                  <a:cubicBezTo>
                    <a:pt x="1969" y="3189"/>
                    <a:pt x="1862" y="3082"/>
                    <a:pt x="1862" y="2952"/>
                  </a:cubicBezTo>
                  <a:lnTo>
                    <a:pt x="1862" y="2637"/>
                  </a:lnTo>
                  <a:close/>
                  <a:moveTo>
                    <a:pt x="400" y="3515"/>
                  </a:moveTo>
                  <a:cubicBezTo>
                    <a:pt x="317" y="3515"/>
                    <a:pt x="249" y="3448"/>
                    <a:pt x="249" y="3365"/>
                  </a:cubicBezTo>
                  <a:lnTo>
                    <a:pt x="249" y="3126"/>
                  </a:lnTo>
                  <a:cubicBezTo>
                    <a:pt x="249" y="3043"/>
                    <a:pt x="317" y="2975"/>
                    <a:pt x="400" y="2975"/>
                  </a:cubicBezTo>
                  <a:lnTo>
                    <a:pt x="431" y="2975"/>
                  </a:lnTo>
                  <a:lnTo>
                    <a:pt x="431" y="3500"/>
                  </a:lnTo>
                  <a:cubicBezTo>
                    <a:pt x="431" y="3505"/>
                    <a:pt x="431" y="3510"/>
                    <a:pt x="431" y="3515"/>
                  </a:cubicBezTo>
                  <a:lnTo>
                    <a:pt x="400" y="3515"/>
                  </a:lnTo>
                  <a:close/>
                  <a:moveTo>
                    <a:pt x="431" y="2183"/>
                  </a:moveTo>
                  <a:lnTo>
                    <a:pt x="431" y="2726"/>
                  </a:lnTo>
                  <a:lnTo>
                    <a:pt x="400" y="2726"/>
                  </a:lnTo>
                  <a:cubicBezTo>
                    <a:pt x="396" y="2726"/>
                    <a:pt x="393" y="2726"/>
                    <a:pt x="389" y="2726"/>
                  </a:cubicBezTo>
                  <a:lnTo>
                    <a:pt x="389" y="1847"/>
                  </a:lnTo>
                  <a:cubicBezTo>
                    <a:pt x="389" y="1557"/>
                    <a:pt x="625" y="1321"/>
                    <a:pt x="915" y="1321"/>
                  </a:cubicBezTo>
                  <a:lnTo>
                    <a:pt x="1836" y="1321"/>
                  </a:lnTo>
                  <a:lnTo>
                    <a:pt x="1836" y="1992"/>
                  </a:lnTo>
                  <a:lnTo>
                    <a:pt x="622" y="1992"/>
                  </a:lnTo>
                  <a:cubicBezTo>
                    <a:pt x="517" y="1992"/>
                    <a:pt x="431" y="2078"/>
                    <a:pt x="431" y="2183"/>
                  </a:cubicBezTo>
                  <a:close/>
                  <a:moveTo>
                    <a:pt x="681" y="3500"/>
                  </a:moveTo>
                  <a:lnTo>
                    <a:pt x="681" y="2242"/>
                  </a:lnTo>
                  <a:lnTo>
                    <a:pt x="1816" y="2242"/>
                  </a:lnTo>
                  <a:cubicBezTo>
                    <a:pt x="1693" y="2330"/>
                    <a:pt x="1612" y="2474"/>
                    <a:pt x="1612" y="2637"/>
                  </a:cubicBezTo>
                  <a:lnTo>
                    <a:pt x="1612" y="2952"/>
                  </a:lnTo>
                  <a:cubicBezTo>
                    <a:pt x="1612" y="3220"/>
                    <a:pt x="1831" y="3438"/>
                    <a:pt x="2101" y="3438"/>
                  </a:cubicBezTo>
                  <a:lnTo>
                    <a:pt x="2211" y="3438"/>
                  </a:lnTo>
                  <a:cubicBezTo>
                    <a:pt x="2263" y="3719"/>
                    <a:pt x="2385" y="3976"/>
                    <a:pt x="2559" y="4189"/>
                  </a:cubicBezTo>
                  <a:cubicBezTo>
                    <a:pt x="2363" y="4419"/>
                    <a:pt x="2072" y="4564"/>
                    <a:pt x="1747" y="4564"/>
                  </a:cubicBezTo>
                  <a:cubicBezTo>
                    <a:pt x="1159" y="4564"/>
                    <a:pt x="681" y="4087"/>
                    <a:pt x="681" y="3500"/>
                  </a:cubicBezTo>
                  <a:close/>
                  <a:moveTo>
                    <a:pt x="1452" y="4941"/>
                  </a:moveTo>
                  <a:lnTo>
                    <a:pt x="1452" y="4910"/>
                  </a:lnTo>
                  <a:lnTo>
                    <a:pt x="1717" y="4910"/>
                  </a:lnTo>
                  <a:cubicBezTo>
                    <a:pt x="1687" y="4970"/>
                    <a:pt x="1670" y="5038"/>
                    <a:pt x="1670" y="5110"/>
                  </a:cubicBezTo>
                  <a:lnTo>
                    <a:pt x="1670" y="5225"/>
                  </a:lnTo>
                  <a:cubicBezTo>
                    <a:pt x="1544" y="5191"/>
                    <a:pt x="1452" y="5077"/>
                    <a:pt x="1452" y="4941"/>
                  </a:cubicBezTo>
                  <a:close/>
                  <a:moveTo>
                    <a:pt x="7472" y="5032"/>
                  </a:moveTo>
                  <a:lnTo>
                    <a:pt x="7472" y="7399"/>
                  </a:lnTo>
                  <a:lnTo>
                    <a:pt x="6095" y="7399"/>
                  </a:lnTo>
                  <a:lnTo>
                    <a:pt x="6095" y="6770"/>
                  </a:lnTo>
                  <a:cubicBezTo>
                    <a:pt x="6095" y="6702"/>
                    <a:pt x="6039" y="6646"/>
                    <a:pt x="5970" y="6646"/>
                  </a:cubicBezTo>
                  <a:cubicBezTo>
                    <a:pt x="5901" y="6646"/>
                    <a:pt x="5845" y="6702"/>
                    <a:pt x="5845" y="6770"/>
                  </a:cubicBezTo>
                  <a:lnTo>
                    <a:pt x="5845" y="8268"/>
                  </a:lnTo>
                  <a:lnTo>
                    <a:pt x="1920" y="8268"/>
                  </a:lnTo>
                  <a:lnTo>
                    <a:pt x="1920" y="5110"/>
                  </a:lnTo>
                  <a:cubicBezTo>
                    <a:pt x="1920" y="5000"/>
                    <a:pt x="2010" y="4910"/>
                    <a:pt x="2121" y="4910"/>
                  </a:cubicBezTo>
                  <a:lnTo>
                    <a:pt x="3202" y="4910"/>
                  </a:lnTo>
                  <a:lnTo>
                    <a:pt x="3202" y="4977"/>
                  </a:lnTo>
                  <a:cubicBezTo>
                    <a:pt x="3202" y="5351"/>
                    <a:pt x="3507" y="5654"/>
                    <a:pt x="3882" y="5654"/>
                  </a:cubicBezTo>
                  <a:cubicBezTo>
                    <a:pt x="4258" y="5654"/>
                    <a:pt x="4563" y="5351"/>
                    <a:pt x="4563" y="4977"/>
                  </a:cubicBezTo>
                  <a:lnTo>
                    <a:pt x="4563" y="4910"/>
                  </a:lnTo>
                  <a:lnTo>
                    <a:pt x="5644" y="4910"/>
                  </a:lnTo>
                  <a:cubicBezTo>
                    <a:pt x="5755" y="4910"/>
                    <a:pt x="5845" y="5000"/>
                    <a:pt x="5845" y="5110"/>
                  </a:cubicBezTo>
                  <a:lnTo>
                    <a:pt x="5845" y="6155"/>
                  </a:lnTo>
                  <a:cubicBezTo>
                    <a:pt x="5845" y="6224"/>
                    <a:pt x="5901" y="6280"/>
                    <a:pt x="5970" y="6280"/>
                  </a:cubicBezTo>
                  <a:cubicBezTo>
                    <a:pt x="6039" y="6280"/>
                    <a:pt x="6095" y="6224"/>
                    <a:pt x="6095" y="6155"/>
                  </a:cubicBezTo>
                  <a:lnTo>
                    <a:pt x="6095" y="5480"/>
                  </a:lnTo>
                  <a:cubicBezTo>
                    <a:pt x="6359" y="5442"/>
                    <a:pt x="6563" y="5215"/>
                    <a:pt x="6563" y="4941"/>
                  </a:cubicBezTo>
                  <a:lnTo>
                    <a:pt x="6563" y="4910"/>
                  </a:lnTo>
                  <a:lnTo>
                    <a:pt x="7350" y="4910"/>
                  </a:lnTo>
                  <a:cubicBezTo>
                    <a:pt x="7417" y="4910"/>
                    <a:pt x="7472" y="4965"/>
                    <a:pt x="7472" y="5032"/>
                  </a:cubicBezTo>
                  <a:close/>
                  <a:moveTo>
                    <a:pt x="6018" y="4564"/>
                  </a:moveTo>
                  <a:cubicBezTo>
                    <a:pt x="5693" y="4564"/>
                    <a:pt x="5402" y="4419"/>
                    <a:pt x="5206" y="4189"/>
                  </a:cubicBezTo>
                  <a:cubicBezTo>
                    <a:pt x="5379" y="3976"/>
                    <a:pt x="5502" y="3719"/>
                    <a:pt x="5554" y="3438"/>
                  </a:cubicBezTo>
                  <a:lnTo>
                    <a:pt x="5664" y="3438"/>
                  </a:lnTo>
                  <a:cubicBezTo>
                    <a:pt x="5933" y="3438"/>
                    <a:pt x="6153" y="3220"/>
                    <a:pt x="6153" y="2952"/>
                  </a:cubicBezTo>
                  <a:lnTo>
                    <a:pt x="6153" y="2637"/>
                  </a:lnTo>
                  <a:cubicBezTo>
                    <a:pt x="6153" y="2474"/>
                    <a:pt x="6072" y="2330"/>
                    <a:pt x="5949" y="2242"/>
                  </a:cubicBezTo>
                  <a:lnTo>
                    <a:pt x="7084" y="2242"/>
                  </a:lnTo>
                  <a:lnTo>
                    <a:pt x="7084" y="3500"/>
                  </a:lnTo>
                  <a:cubicBezTo>
                    <a:pt x="7084" y="4087"/>
                    <a:pt x="6606" y="4564"/>
                    <a:pt x="6018" y="456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95" name="Freeform 87"/>
            <p:cNvSpPr/>
            <p:nvPr/>
          </p:nvSpPr>
          <p:spPr bwMode="auto">
            <a:xfrm>
              <a:off x="2225675" y="2867026"/>
              <a:ext cx="25400" cy="46038"/>
            </a:xfrm>
            <a:custGeom>
              <a:avLst/>
              <a:gdLst>
                <a:gd name="T0" fmla="*/ 125 w 250"/>
                <a:gd name="T1" fmla="*/ 0 h 463"/>
                <a:gd name="T2" fmla="*/ 0 w 250"/>
                <a:gd name="T3" fmla="*/ 124 h 463"/>
                <a:gd name="T4" fmla="*/ 0 w 250"/>
                <a:gd name="T5" fmla="*/ 338 h 463"/>
                <a:gd name="T6" fmla="*/ 125 w 250"/>
                <a:gd name="T7" fmla="*/ 463 h 463"/>
                <a:gd name="T8" fmla="*/ 250 w 250"/>
                <a:gd name="T9" fmla="*/ 338 h 463"/>
                <a:gd name="T10" fmla="*/ 250 w 250"/>
                <a:gd name="T11" fmla="*/ 124 h 463"/>
                <a:gd name="T12" fmla="*/ 125 w 250"/>
                <a:gd name="T13" fmla="*/ 0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463" extrusionOk="0">
                  <a:moveTo>
                    <a:pt x="125" y="0"/>
                  </a:moveTo>
                  <a:cubicBezTo>
                    <a:pt x="56" y="0"/>
                    <a:pt x="0" y="55"/>
                    <a:pt x="0" y="124"/>
                  </a:cubicBezTo>
                  <a:lnTo>
                    <a:pt x="0" y="338"/>
                  </a:lnTo>
                  <a:cubicBezTo>
                    <a:pt x="0" y="407"/>
                    <a:pt x="56" y="463"/>
                    <a:pt x="125" y="463"/>
                  </a:cubicBezTo>
                  <a:cubicBezTo>
                    <a:pt x="194" y="463"/>
                    <a:pt x="250" y="407"/>
                    <a:pt x="250" y="338"/>
                  </a:cubicBezTo>
                  <a:lnTo>
                    <a:pt x="250" y="124"/>
                  </a:lnTo>
                  <a:cubicBezTo>
                    <a:pt x="250" y="55"/>
                    <a:pt x="194" y="0"/>
                    <a:pt x="12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96" name="Freeform 88"/>
            <p:cNvSpPr/>
            <p:nvPr/>
          </p:nvSpPr>
          <p:spPr bwMode="auto">
            <a:xfrm>
              <a:off x="2128838" y="2963863"/>
              <a:ext cx="104775" cy="41275"/>
            </a:xfrm>
            <a:custGeom>
              <a:avLst/>
              <a:gdLst>
                <a:gd name="T0" fmla="*/ 840 w 1065"/>
                <a:gd name="T1" fmla="*/ 48 h 425"/>
                <a:gd name="T2" fmla="*/ 225 w 1065"/>
                <a:gd name="T3" fmla="*/ 48 h 425"/>
                <a:gd name="T4" fmla="*/ 49 w 1065"/>
                <a:gd name="T5" fmla="*/ 48 h 425"/>
                <a:gd name="T6" fmla="*/ 49 w 1065"/>
                <a:gd name="T7" fmla="*/ 225 h 425"/>
                <a:gd name="T8" fmla="*/ 533 w 1065"/>
                <a:gd name="T9" fmla="*/ 425 h 425"/>
                <a:gd name="T10" fmla="*/ 1017 w 1065"/>
                <a:gd name="T11" fmla="*/ 225 h 425"/>
                <a:gd name="T12" fmla="*/ 1017 w 1065"/>
                <a:gd name="T13" fmla="*/ 49 h 425"/>
                <a:gd name="T14" fmla="*/ 840 w 1065"/>
                <a:gd name="T15" fmla="*/ 48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65" h="425" extrusionOk="0">
                  <a:moveTo>
                    <a:pt x="840" y="48"/>
                  </a:moveTo>
                  <a:cubicBezTo>
                    <a:pt x="671" y="218"/>
                    <a:pt x="395" y="218"/>
                    <a:pt x="225" y="48"/>
                  </a:cubicBezTo>
                  <a:cubicBezTo>
                    <a:pt x="176" y="0"/>
                    <a:pt x="97" y="0"/>
                    <a:pt x="49" y="48"/>
                  </a:cubicBezTo>
                  <a:cubicBezTo>
                    <a:pt x="0" y="97"/>
                    <a:pt x="0" y="176"/>
                    <a:pt x="49" y="225"/>
                  </a:cubicBezTo>
                  <a:cubicBezTo>
                    <a:pt x="182" y="358"/>
                    <a:pt x="358" y="425"/>
                    <a:pt x="533" y="425"/>
                  </a:cubicBezTo>
                  <a:cubicBezTo>
                    <a:pt x="708" y="425"/>
                    <a:pt x="883" y="358"/>
                    <a:pt x="1017" y="225"/>
                  </a:cubicBezTo>
                  <a:cubicBezTo>
                    <a:pt x="1065" y="176"/>
                    <a:pt x="1065" y="97"/>
                    <a:pt x="1017" y="49"/>
                  </a:cubicBezTo>
                  <a:cubicBezTo>
                    <a:pt x="968" y="0"/>
                    <a:pt x="889" y="0"/>
                    <a:pt x="840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97" name="Freeform 89"/>
            <p:cNvSpPr/>
            <p:nvPr/>
          </p:nvSpPr>
          <p:spPr bwMode="auto">
            <a:xfrm>
              <a:off x="2198688" y="2820988"/>
              <a:ext cx="77788" cy="39687"/>
            </a:xfrm>
            <a:custGeom>
              <a:avLst/>
              <a:gdLst>
                <a:gd name="T0" fmla="*/ 49 w 789"/>
                <a:gd name="T1" fmla="*/ 190 h 416"/>
                <a:gd name="T2" fmla="*/ 49 w 789"/>
                <a:gd name="T3" fmla="*/ 367 h 416"/>
                <a:gd name="T4" fmla="*/ 137 w 789"/>
                <a:gd name="T5" fmla="*/ 403 h 416"/>
                <a:gd name="T6" fmla="*/ 225 w 789"/>
                <a:gd name="T7" fmla="*/ 367 h 416"/>
                <a:gd name="T8" fmla="*/ 564 w 789"/>
                <a:gd name="T9" fmla="*/ 367 h 416"/>
                <a:gd name="T10" fmla="*/ 740 w 789"/>
                <a:gd name="T11" fmla="*/ 367 h 416"/>
                <a:gd name="T12" fmla="*/ 740 w 789"/>
                <a:gd name="T13" fmla="*/ 190 h 416"/>
                <a:gd name="T14" fmla="*/ 49 w 789"/>
                <a:gd name="T15" fmla="*/ 190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9" h="416" extrusionOk="0">
                  <a:moveTo>
                    <a:pt x="49" y="190"/>
                  </a:moveTo>
                  <a:cubicBezTo>
                    <a:pt x="0" y="239"/>
                    <a:pt x="0" y="318"/>
                    <a:pt x="49" y="367"/>
                  </a:cubicBezTo>
                  <a:cubicBezTo>
                    <a:pt x="73" y="391"/>
                    <a:pt x="105" y="403"/>
                    <a:pt x="137" y="403"/>
                  </a:cubicBezTo>
                  <a:cubicBezTo>
                    <a:pt x="169" y="403"/>
                    <a:pt x="201" y="391"/>
                    <a:pt x="225" y="367"/>
                  </a:cubicBezTo>
                  <a:cubicBezTo>
                    <a:pt x="319" y="274"/>
                    <a:pt x="471" y="274"/>
                    <a:pt x="564" y="367"/>
                  </a:cubicBezTo>
                  <a:cubicBezTo>
                    <a:pt x="613" y="416"/>
                    <a:pt x="692" y="416"/>
                    <a:pt x="740" y="367"/>
                  </a:cubicBezTo>
                  <a:cubicBezTo>
                    <a:pt x="789" y="318"/>
                    <a:pt x="789" y="239"/>
                    <a:pt x="740" y="190"/>
                  </a:cubicBezTo>
                  <a:cubicBezTo>
                    <a:pt x="550" y="0"/>
                    <a:pt x="240" y="0"/>
                    <a:pt x="49" y="19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98" name="Freeform 90"/>
            <p:cNvSpPr/>
            <p:nvPr/>
          </p:nvSpPr>
          <p:spPr bwMode="auto">
            <a:xfrm>
              <a:off x="1711325" y="2963863"/>
              <a:ext cx="104775" cy="41275"/>
            </a:xfrm>
            <a:custGeom>
              <a:avLst/>
              <a:gdLst>
                <a:gd name="T0" fmla="*/ 1017 w 1066"/>
                <a:gd name="T1" fmla="*/ 225 h 425"/>
                <a:gd name="T2" fmla="*/ 1017 w 1066"/>
                <a:gd name="T3" fmla="*/ 48 h 425"/>
                <a:gd name="T4" fmla="*/ 841 w 1066"/>
                <a:gd name="T5" fmla="*/ 48 h 425"/>
                <a:gd name="T6" fmla="*/ 226 w 1066"/>
                <a:gd name="T7" fmla="*/ 48 h 425"/>
                <a:gd name="T8" fmla="*/ 49 w 1066"/>
                <a:gd name="T9" fmla="*/ 48 h 425"/>
                <a:gd name="T10" fmla="*/ 49 w 1066"/>
                <a:gd name="T11" fmla="*/ 225 h 425"/>
                <a:gd name="T12" fmla="*/ 533 w 1066"/>
                <a:gd name="T13" fmla="*/ 425 h 425"/>
                <a:gd name="T14" fmla="*/ 1017 w 1066"/>
                <a:gd name="T15" fmla="*/ 225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66" h="425" extrusionOk="0">
                  <a:moveTo>
                    <a:pt x="1017" y="225"/>
                  </a:moveTo>
                  <a:cubicBezTo>
                    <a:pt x="1066" y="176"/>
                    <a:pt x="1066" y="97"/>
                    <a:pt x="1017" y="48"/>
                  </a:cubicBezTo>
                  <a:cubicBezTo>
                    <a:pt x="968" y="0"/>
                    <a:pt x="889" y="0"/>
                    <a:pt x="841" y="48"/>
                  </a:cubicBezTo>
                  <a:cubicBezTo>
                    <a:pt x="671" y="218"/>
                    <a:pt x="395" y="218"/>
                    <a:pt x="226" y="48"/>
                  </a:cubicBezTo>
                  <a:cubicBezTo>
                    <a:pt x="177" y="0"/>
                    <a:pt x="98" y="0"/>
                    <a:pt x="49" y="48"/>
                  </a:cubicBezTo>
                  <a:cubicBezTo>
                    <a:pt x="0" y="97"/>
                    <a:pt x="1" y="176"/>
                    <a:pt x="49" y="225"/>
                  </a:cubicBezTo>
                  <a:cubicBezTo>
                    <a:pt x="183" y="358"/>
                    <a:pt x="358" y="425"/>
                    <a:pt x="533" y="425"/>
                  </a:cubicBezTo>
                  <a:cubicBezTo>
                    <a:pt x="708" y="425"/>
                    <a:pt x="884" y="358"/>
                    <a:pt x="1017" y="2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99" name="Freeform 91"/>
            <p:cNvSpPr/>
            <p:nvPr/>
          </p:nvSpPr>
          <p:spPr bwMode="auto">
            <a:xfrm>
              <a:off x="1670050" y="2820988"/>
              <a:ext cx="76200" cy="39687"/>
            </a:xfrm>
            <a:custGeom>
              <a:avLst/>
              <a:gdLst>
                <a:gd name="T0" fmla="*/ 564 w 789"/>
                <a:gd name="T1" fmla="*/ 367 h 416"/>
                <a:gd name="T2" fmla="*/ 652 w 789"/>
                <a:gd name="T3" fmla="*/ 403 h 416"/>
                <a:gd name="T4" fmla="*/ 741 w 789"/>
                <a:gd name="T5" fmla="*/ 367 h 416"/>
                <a:gd name="T6" fmla="*/ 741 w 789"/>
                <a:gd name="T7" fmla="*/ 190 h 416"/>
                <a:gd name="T8" fmla="*/ 49 w 789"/>
                <a:gd name="T9" fmla="*/ 190 h 416"/>
                <a:gd name="T10" fmla="*/ 49 w 789"/>
                <a:gd name="T11" fmla="*/ 367 h 416"/>
                <a:gd name="T12" fmla="*/ 226 w 789"/>
                <a:gd name="T13" fmla="*/ 367 h 416"/>
                <a:gd name="T14" fmla="*/ 564 w 789"/>
                <a:gd name="T15" fmla="*/ 367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9" h="416" extrusionOk="0">
                  <a:moveTo>
                    <a:pt x="564" y="367"/>
                  </a:moveTo>
                  <a:cubicBezTo>
                    <a:pt x="589" y="391"/>
                    <a:pt x="621" y="403"/>
                    <a:pt x="652" y="403"/>
                  </a:cubicBezTo>
                  <a:cubicBezTo>
                    <a:pt x="684" y="403"/>
                    <a:pt x="716" y="391"/>
                    <a:pt x="741" y="367"/>
                  </a:cubicBezTo>
                  <a:cubicBezTo>
                    <a:pt x="789" y="318"/>
                    <a:pt x="789" y="239"/>
                    <a:pt x="741" y="190"/>
                  </a:cubicBezTo>
                  <a:cubicBezTo>
                    <a:pt x="550" y="0"/>
                    <a:pt x="240" y="0"/>
                    <a:pt x="49" y="190"/>
                  </a:cubicBezTo>
                  <a:cubicBezTo>
                    <a:pt x="0" y="239"/>
                    <a:pt x="0" y="318"/>
                    <a:pt x="49" y="367"/>
                  </a:cubicBezTo>
                  <a:cubicBezTo>
                    <a:pt x="98" y="416"/>
                    <a:pt x="177" y="416"/>
                    <a:pt x="226" y="367"/>
                  </a:cubicBezTo>
                  <a:cubicBezTo>
                    <a:pt x="319" y="274"/>
                    <a:pt x="471" y="274"/>
                    <a:pt x="564" y="3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00" name="Freeform 92"/>
            <p:cNvSpPr/>
            <p:nvPr/>
          </p:nvSpPr>
          <p:spPr bwMode="auto">
            <a:xfrm>
              <a:off x="1695450" y="2867026"/>
              <a:ext cx="23813" cy="46038"/>
            </a:xfrm>
            <a:custGeom>
              <a:avLst/>
              <a:gdLst>
                <a:gd name="T0" fmla="*/ 250 w 250"/>
                <a:gd name="T1" fmla="*/ 338 h 463"/>
                <a:gd name="T2" fmla="*/ 250 w 250"/>
                <a:gd name="T3" fmla="*/ 124 h 463"/>
                <a:gd name="T4" fmla="*/ 125 w 250"/>
                <a:gd name="T5" fmla="*/ 0 h 463"/>
                <a:gd name="T6" fmla="*/ 0 w 250"/>
                <a:gd name="T7" fmla="*/ 124 h 463"/>
                <a:gd name="T8" fmla="*/ 0 w 250"/>
                <a:gd name="T9" fmla="*/ 338 h 463"/>
                <a:gd name="T10" fmla="*/ 125 w 250"/>
                <a:gd name="T11" fmla="*/ 463 h 463"/>
                <a:gd name="T12" fmla="*/ 250 w 250"/>
                <a:gd name="T13" fmla="*/ 338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463" extrusionOk="0">
                  <a:moveTo>
                    <a:pt x="250" y="338"/>
                  </a:moveTo>
                  <a:lnTo>
                    <a:pt x="250" y="124"/>
                  </a:lnTo>
                  <a:cubicBezTo>
                    <a:pt x="250" y="55"/>
                    <a:pt x="194" y="0"/>
                    <a:pt x="125" y="0"/>
                  </a:cubicBezTo>
                  <a:cubicBezTo>
                    <a:pt x="56" y="0"/>
                    <a:pt x="0" y="55"/>
                    <a:pt x="0" y="124"/>
                  </a:cubicBezTo>
                  <a:lnTo>
                    <a:pt x="0" y="338"/>
                  </a:lnTo>
                  <a:cubicBezTo>
                    <a:pt x="0" y="407"/>
                    <a:pt x="56" y="463"/>
                    <a:pt x="125" y="463"/>
                  </a:cubicBezTo>
                  <a:cubicBezTo>
                    <a:pt x="194" y="463"/>
                    <a:pt x="250" y="407"/>
                    <a:pt x="250" y="33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01" name="Freeform 93"/>
            <p:cNvSpPr>
              <a:spLocks noEditPoints="1"/>
            </p:cNvSpPr>
            <p:nvPr/>
          </p:nvSpPr>
          <p:spPr bwMode="auto">
            <a:xfrm>
              <a:off x="1847850" y="3157538"/>
              <a:ext cx="249238" cy="206375"/>
            </a:xfrm>
            <a:custGeom>
              <a:avLst/>
              <a:gdLst>
                <a:gd name="T0" fmla="*/ 1880 w 2543"/>
                <a:gd name="T1" fmla="*/ 0 h 2103"/>
                <a:gd name="T2" fmla="*/ 1411 w 2543"/>
                <a:gd name="T3" fmla="*/ 193 h 2103"/>
                <a:gd name="T4" fmla="*/ 1271 w 2543"/>
                <a:gd name="T5" fmla="*/ 332 h 2103"/>
                <a:gd name="T6" fmla="*/ 1132 w 2543"/>
                <a:gd name="T7" fmla="*/ 193 h 2103"/>
                <a:gd name="T8" fmla="*/ 663 w 2543"/>
                <a:gd name="T9" fmla="*/ 0 h 2103"/>
                <a:gd name="T10" fmla="*/ 194 w 2543"/>
                <a:gd name="T11" fmla="*/ 193 h 2103"/>
                <a:gd name="T12" fmla="*/ 0 w 2543"/>
                <a:gd name="T13" fmla="*/ 661 h 2103"/>
                <a:gd name="T14" fmla="*/ 194 w 2543"/>
                <a:gd name="T15" fmla="*/ 1128 h 2103"/>
                <a:gd name="T16" fmla="*/ 1107 w 2543"/>
                <a:gd name="T17" fmla="*/ 2035 h 2103"/>
                <a:gd name="T18" fmla="*/ 1271 w 2543"/>
                <a:gd name="T19" fmla="*/ 2103 h 2103"/>
                <a:gd name="T20" fmla="*/ 1436 w 2543"/>
                <a:gd name="T21" fmla="*/ 2035 h 2103"/>
                <a:gd name="T22" fmla="*/ 2348 w 2543"/>
                <a:gd name="T23" fmla="*/ 1128 h 2103"/>
                <a:gd name="T24" fmla="*/ 2543 w 2543"/>
                <a:gd name="T25" fmla="*/ 661 h 2103"/>
                <a:gd name="T26" fmla="*/ 2348 w 2543"/>
                <a:gd name="T27" fmla="*/ 193 h 2103"/>
                <a:gd name="T28" fmla="*/ 1880 w 2543"/>
                <a:gd name="T29" fmla="*/ 0 h 2103"/>
                <a:gd name="T30" fmla="*/ 2173 w 2543"/>
                <a:gd name="T31" fmla="*/ 951 h 2103"/>
                <a:gd name="T32" fmla="*/ 1271 w 2543"/>
                <a:gd name="T33" fmla="*/ 1847 h 2103"/>
                <a:gd name="T34" fmla="*/ 370 w 2543"/>
                <a:gd name="T35" fmla="*/ 951 h 2103"/>
                <a:gd name="T36" fmla="*/ 250 w 2543"/>
                <a:gd name="T37" fmla="*/ 661 h 2103"/>
                <a:gd name="T38" fmla="*/ 370 w 2543"/>
                <a:gd name="T39" fmla="*/ 370 h 2103"/>
                <a:gd name="T40" fmla="*/ 663 w 2543"/>
                <a:gd name="T41" fmla="*/ 250 h 2103"/>
                <a:gd name="T42" fmla="*/ 956 w 2543"/>
                <a:gd name="T43" fmla="*/ 370 h 2103"/>
                <a:gd name="T44" fmla="*/ 1183 w 2543"/>
                <a:gd name="T45" fmla="*/ 596 h 2103"/>
                <a:gd name="T46" fmla="*/ 1359 w 2543"/>
                <a:gd name="T47" fmla="*/ 596 h 2103"/>
                <a:gd name="T48" fmla="*/ 1586 w 2543"/>
                <a:gd name="T49" fmla="*/ 370 h 2103"/>
                <a:gd name="T50" fmla="*/ 1880 w 2543"/>
                <a:gd name="T51" fmla="*/ 250 h 2103"/>
                <a:gd name="T52" fmla="*/ 2173 w 2543"/>
                <a:gd name="T53" fmla="*/ 370 h 2103"/>
                <a:gd name="T54" fmla="*/ 2293 w 2543"/>
                <a:gd name="T55" fmla="*/ 661 h 2103"/>
                <a:gd name="T56" fmla="*/ 2173 w 2543"/>
                <a:gd name="T57" fmla="*/ 951 h 2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43" h="2103" extrusionOk="0">
                  <a:moveTo>
                    <a:pt x="1880" y="0"/>
                  </a:moveTo>
                  <a:cubicBezTo>
                    <a:pt x="1702" y="0"/>
                    <a:pt x="1536" y="69"/>
                    <a:pt x="1411" y="193"/>
                  </a:cubicBezTo>
                  <a:lnTo>
                    <a:pt x="1271" y="332"/>
                  </a:lnTo>
                  <a:lnTo>
                    <a:pt x="1132" y="193"/>
                  </a:lnTo>
                  <a:cubicBezTo>
                    <a:pt x="1007" y="69"/>
                    <a:pt x="841" y="0"/>
                    <a:pt x="663" y="0"/>
                  </a:cubicBezTo>
                  <a:cubicBezTo>
                    <a:pt x="486" y="0"/>
                    <a:pt x="320" y="69"/>
                    <a:pt x="194" y="193"/>
                  </a:cubicBezTo>
                  <a:cubicBezTo>
                    <a:pt x="69" y="318"/>
                    <a:pt x="0" y="484"/>
                    <a:pt x="0" y="661"/>
                  </a:cubicBezTo>
                  <a:cubicBezTo>
                    <a:pt x="0" y="837"/>
                    <a:pt x="69" y="1003"/>
                    <a:pt x="194" y="1128"/>
                  </a:cubicBezTo>
                  <a:lnTo>
                    <a:pt x="1107" y="2035"/>
                  </a:lnTo>
                  <a:cubicBezTo>
                    <a:pt x="1151" y="2079"/>
                    <a:pt x="1209" y="2103"/>
                    <a:pt x="1271" y="2103"/>
                  </a:cubicBezTo>
                  <a:cubicBezTo>
                    <a:pt x="1334" y="2103"/>
                    <a:pt x="1392" y="2079"/>
                    <a:pt x="1436" y="2035"/>
                  </a:cubicBezTo>
                  <a:lnTo>
                    <a:pt x="2348" y="1128"/>
                  </a:lnTo>
                  <a:cubicBezTo>
                    <a:pt x="2474" y="1003"/>
                    <a:pt x="2543" y="837"/>
                    <a:pt x="2543" y="661"/>
                  </a:cubicBezTo>
                  <a:cubicBezTo>
                    <a:pt x="2543" y="484"/>
                    <a:pt x="2474" y="318"/>
                    <a:pt x="2348" y="193"/>
                  </a:cubicBezTo>
                  <a:cubicBezTo>
                    <a:pt x="2223" y="69"/>
                    <a:pt x="2057" y="0"/>
                    <a:pt x="1880" y="0"/>
                  </a:cubicBezTo>
                  <a:close/>
                  <a:moveTo>
                    <a:pt x="2173" y="951"/>
                  </a:moveTo>
                  <a:lnTo>
                    <a:pt x="1271" y="1847"/>
                  </a:lnTo>
                  <a:lnTo>
                    <a:pt x="370" y="951"/>
                  </a:lnTo>
                  <a:cubicBezTo>
                    <a:pt x="292" y="874"/>
                    <a:pt x="250" y="770"/>
                    <a:pt x="250" y="661"/>
                  </a:cubicBezTo>
                  <a:cubicBezTo>
                    <a:pt x="250" y="551"/>
                    <a:pt x="292" y="448"/>
                    <a:pt x="370" y="370"/>
                  </a:cubicBezTo>
                  <a:cubicBezTo>
                    <a:pt x="449" y="292"/>
                    <a:pt x="553" y="250"/>
                    <a:pt x="663" y="250"/>
                  </a:cubicBezTo>
                  <a:cubicBezTo>
                    <a:pt x="774" y="250"/>
                    <a:pt x="878" y="292"/>
                    <a:pt x="956" y="370"/>
                  </a:cubicBezTo>
                  <a:lnTo>
                    <a:pt x="1183" y="596"/>
                  </a:lnTo>
                  <a:cubicBezTo>
                    <a:pt x="1232" y="645"/>
                    <a:pt x="1311" y="645"/>
                    <a:pt x="1359" y="596"/>
                  </a:cubicBezTo>
                  <a:lnTo>
                    <a:pt x="1586" y="370"/>
                  </a:lnTo>
                  <a:cubicBezTo>
                    <a:pt x="1665" y="292"/>
                    <a:pt x="1769" y="250"/>
                    <a:pt x="1880" y="250"/>
                  </a:cubicBezTo>
                  <a:cubicBezTo>
                    <a:pt x="1990" y="250"/>
                    <a:pt x="2094" y="292"/>
                    <a:pt x="2173" y="370"/>
                  </a:cubicBezTo>
                  <a:cubicBezTo>
                    <a:pt x="2250" y="448"/>
                    <a:pt x="2293" y="551"/>
                    <a:pt x="2293" y="661"/>
                  </a:cubicBezTo>
                  <a:cubicBezTo>
                    <a:pt x="2293" y="770"/>
                    <a:pt x="2250" y="874"/>
                    <a:pt x="2173" y="9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02" name="Freeform 94"/>
            <p:cNvSpPr/>
            <p:nvPr/>
          </p:nvSpPr>
          <p:spPr bwMode="auto">
            <a:xfrm>
              <a:off x="1922463" y="3219451"/>
              <a:ext cx="23813" cy="33338"/>
            </a:xfrm>
            <a:custGeom>
              <a:avLst/>
              <a:gdLst>
                <a:gd name="T0" fmla="*/ 250 w 250"/>
                <a:gd name="T1" fmla="*/ 217 h 342"/>
                <a:gd name="T2" fmla="*/ 250 w 250"/>
                <a:gd name="T3" fmla="*/ 125 h 342"/>
                <a:gd name="T4" fmla="*/ 125 w 250"/>
                <a:gd name="T5" fmla="*/ 0 h 342"/>
                <a:gd name="T6" fmla="*/ 0 w 250"/>
                <a:gd name="T7" fmla="*/ 125 h 342"/>
                <a:gd name="T8" fmla="*/ 0 w 250"/>
                <a:gd name="T9" fmla="*/ 217 h 342"/>
                <a:gd name="T10" fmla="*/ 125 w 250"/>
                <a:gd name="T11" fmla="*/ 342 h 342"/>
                <a:gd name="T12" fmla="*/ 250 w 250"/>
                <a:gd name="T13" fmla="*/ 217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342" extrusionOk="0">
                  <a:moveTo>
                    <a:pt x="250" y="217"/>
                  </a:moveTo>
                  <a:lnTo>
                    <a:pt x="250" y="125"/>
                  </a:lnTo>
                  <a:cubicBezTo>
                    <a:pt x="250" y="56"/>
                    <a:pt x="194" y="0"/>
                    <a:pt x="125" y="0"/>
                  </a:cubicBezTo>
                  <a:cubicBezTo>
                    <a:pt x="56" y="0"/>
                    <a:pt x="0" y="56"/>
                    <a:pt x="0" y="125"/>
                  </a:cubicBezTo>
                  <a:lnTo>
                    <a:pt x="0" y="217"/>
                  </a:lnTo>
                  <a:cubicBezTo>
                    <a:pt x="0" y="286"/>
                    <a:pt x="56" y="342"/>
                    <a:pt x="125" y="342"/>
                  </a:cubicBezTo>
                  <a:cubicBezTo>
                    <a:pt x="194" y="342"/>
                    <a:pt x="250" y="286"/>
                    <a:pt x="250" y="2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03" name="Freeform 95"/>
            <p:cNvSpPr/>
            <p:nvPr/>
          </p:nvSpPr>
          <p:spPr bwMode="auto">
            <a:xfrm>
              <a:off x="1998663" y="3219451"/>
              <a:ext cx="25400" cy="33338"/>
            </a:xfrm>
            <a:custGeom>
              <a:avLst/>
              <a:gdLst>
                <a:gd name="T0" fmla="*/ 125 w 249"/>
                <a:gd name="T1" fmla="*/ 0 h 342"/>
                <a:gd name="T2" fmla="*/ 0 w 249"/>
                <a:gd name="T3" fmla="*/ 125 h 342"/>
                <a:gd name="T4" fmla="*/ 0 w 249"/>
                <a:gd name="T5" fmla="*/ 217 h 342"/>
                <a:gd name="T6" fmla="*/ 125 w 249"/>
                <a:gd name="T7" fmla="*/ 342 h 342"/>
                <a:gd name="T8" fmla="*/ 249 w 249"/>
                <a:gd name="T9" fmla="*/ 217 h 342"/>
                <a:gd name="T10" fmla="*/ 249 w 249"/>
                <a:gd name="T11" fmla="*/ 125 h 342"/>
                <a:gd name="T12" fmla="*/ 125 w 249"/>
                <a:gd name="T13" fmla="*/ 0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9" h="342" extrusionOk="0"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lnTo>
                    <a:pt x="0" y="217"/>
                  </a:lnTo>
                  <a:cubicBezTo>
                    <a:pt x="0" y="286"/>
                    <a:pt x="56" y="342"/>
                    <a:pt x="125" y="342"/>
                  </a:cubicBezTo>
                  <a:cubicBezTo>
                    <a:pt x="194" y="342"/>
                    <a:pt x="249" y="286"/>
                    <a:pt x="249" y="217"/>
                  </a:cubicBezTo>
                  <a:lnTo>
                    <a:pt x="249" y="125"/>
                  </a:lnTo>
                  <a:cubicBezTo>
                    <a:pt x="249" y="56"/>
                    <a:pt x="194" y="0"/>
                    <a:pt x="12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04" name="Freeform 96"/>
            <p:cNvSpPr/>
            <p:nvPr/>
          </p:nvSpPr>
          <p:spPr bwMode="auto">
            <a:xfrm>
              <a:off x="1941513" y="3260726"/>
              <a:ext cx="61913" cy="42863"/>
            </a:xfrm>
            <a:custGeom>
              <a:avLst/>
              <a:gdLst>
                <a:gd name="T0" fmla="*/ 496 w 621"/>
                <a:gd name="T1" fmla="*/ 0 h 434"/>
                <a:gd name="T2" fmla="*/ 371 w 621"/>
                <a:gd name="T3" fmla="*/ 125 h 434"/>
                <a:gd name="T4" fmla="*/ 310 w 621"/>
                <a:gd name="T5" fmla="*/ 184 h 434"/>
                <a:gd name="T6" fmla="*/ 250 w 621"/>
                <a:gd name="T7" fmla="*/ 125 h 434"/>
                <a:gd name="T8" fmla="*/ 125 w 621"/>
                <a:gd name="T9" fmla="*/ 0 h 434"/>
                <a:gd name="T10" fmla="*/ 0 w 621"/>
                <a:gd name="T11" fmla="*/ 125 h 434"/>
                <a:gd name="T12" fmla="*/ 310 w 621"/>
                <a:gd name="T13" fmla="*/ 434 h 434"/>
                <a:gd name="T14" fmla="*/ 621 w 621"/>
                <a:gd name="T15" fmla="*/ 125 h 434"/>
                <a:gd name="T16" fmla="*/ 496 w 621"/>
                <a:gd name="T17" fmla="*/ 0 h 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1" h="434" extrusionOk="0">
                  <a:moveTo>
                    <a:pt x="496" y="0"/>
                  </a:moveTo>
                  <a:cubicBezTo>
                    <a:pt x="427" y="0"/>
                    <a:pt x="371" y="56"/>
                    <a:pt x="371" y="125"/>
                  </a:cubicBezTo>
                  <a:cubicBezTo>
                    <a:pt x="371" y="157"/>
                    <a:pt x="344" y="184"/>
                    <a:pt x="310" y="184"/>
                  </a:cubicBezTo>
                  <a:cubicBezTo>
                    <a:pt x="277" y="184"/>
                    <a:pt x="250" y="157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ubicBezTo>
                    <a:pt x="56" y="0"/>
                    <a:pt x="0" y="56"/>
                    <a:pt x="0" y="125"/>
                  </a:cubicBezTo>
                  <a:cubicBezTo>
                    <a:pt x="0" y="295"/>
                    <a:pt x="139" y="434"/>
                    <a:pt x="310" y="434"/>
                  </a:cubicBezTo>
                  <a:cubicBezTo>
                    <a:pt x="482" y="434"/>
                    <a:pt x="621" y="295"/>
                    <a:pt x="621" y="125"/>
                  </a:cubicBezTo>
                  <a:cubicBezTo>
                    <a:pt x="621" y="56"/>
                    <a:pt x="565" y="0"/>
                    <a:pt x="49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05" name="Freeform 97"/>
            <p:cNvSpPr/>
            <p:nvPr/>
          </p:nvSpPr>
          <p:spPr bwMode="auto">
            <a:xfrm>
              <a:off x="1946275" y="2830512"/>
              <a:ext cx="52388" cy="88900"/>
            </a:xfrm>
            <a:custGeom>
              <a:avLst/>
              <a:gdLst>
                <a:gd name="T0" fmla="*/ 207 w 545"/>
                <a:gd name="T1" fmla="*/ 911 h 911"/>
                <a:gd name="T2" fmla="*/ 421 w 545"/>
                <a:gd name="T3" fmla="*/ 911 h 911"/>
                <a:gd name="T4" fmla="*/ 545 w 545"/>
                <a:gd name="T5" fmla="*/ 787 h 911"/>
                <a:gd name="T6" fmla="*/ 421 w 545"/>
                <a:gd name="T7" fmla="*/ 662 h 911"/>
                <a:gd name="T8" fmla="*/ 249 w 545"/>
                <a:gd name="T9" fmla="*/ 662 h 911"/>
                <a:gd name="T10" fmla="*/ 249 w 545"/>
                <a:gd name="T11" fmla="*/ 124 h 911"/>
                <a:gd name="T12" fmla="*/ 124 w 545"/>
                <a:gd name="T13" fmla="*/ 0 h 911"/>
                <a:gd name="T14" fmla="*/ 0 w 545"/>
                <a:gd name="T15" fmla="*/ 124 h 911"/>
                <a:gd name="T16" fmla="*/ 0 w 545"/>
                <a:gd name="T17" fmla="*/ 704 h 911"/>
                <a:gd name="T18" fmla="*/ 207 w 545"/>
                <a:gd name="T19" fmla="*/ 911 h 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5" h="911" extrusionOk="0">
                  <a:moveTo>
                    <a:pt x="207" y="911"/>
                  </a:moveTo>
                  <a:lnTo>
                    <a:pt x="421" y="911"/>
                  </a:lnTo>
                  <a:cubicBezTo>
                    <a:pt x="490" y="911"/>
                    <a:pt x="545" y="856"/>
                    <a:pt x="545" y="787"/>
                  </a:cubicBezTo>
                  <a:cubicBezTo>
                    <a:pt x="545" y="718"/>
                    <a:pt x="490" y="662"/>
                    <a:pt x="421" y="662"/>
                  </a:cubicBezTo>
                  <a:lnTo>
                    <a:pt x="249" y="662"/>
                  </a:lnTo>
                  <a:lnTo>
                    <a:pt x="249" y="124"/>
                  </a:lnTo>
                  <a:cubicBezTo>
                    <a:pt x="249" y="56"/>
                    <a:pt x="193" y="0"/>
                    <a:pt x="124" y="0"/>
                  </a:cubicBezTo>
                  <a:cubicBezTo>
                    <a:pt x="55" y="0"/>
                    <a:pt x="0" y="56"/>
                    <a:pt x="0" y="124"/>
                  </a:cubicBezTo>
                  <a:lnTo>
                    <a:pt x="0" y="704"/>
                  </a:lnTo>
                  <a:cubicBezTo>
                    <a:pt x="0" y="818"/>
                    <a:pt x="93" y="911"/>
                    <a:pt x="207" y="9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06" name="Freeform 98"/>
            <p:cNvSpPr/>
            <p:nvPr/>
          </p:nvSpPr>
          <p:spPr bwMode="auto">
            <a:xfrm>
              <a:off x="1908175" y="2941638"/>
              <a:ext cx="128587" cy="46038"/>
            </a:xfrm>
            <a:custGeom>
              <a:avLst/>
              <a:gdLst>
                <a:gd name="T0" fmla="*/ 1096 w 1321"/>
                <a:gd name="T1" fmla="*/ 48 h 476"/>
                <a:gd name="T2" fmla="*/ 225 w 1321"/>
                <a:gd name="T3" fmla="*/ 48 h 476"/>
                <a:gd name="T4" fmla="*/ 49 w 1321"/>
                <a:gd name="T5" fmla="*/ 49 h 476"/>
                <a:gd name="T6" fmla="*/ 49 w 1321"/>
                <a:gd name="T7" fmla="*/ 225 h 476"/>
                <a:gd name="T8" fmla="*/ 660 w 1321"/>
                <a:gd name="T9" fmla="*/ 476 h 476"/>
                <a:gd name="T10" fmla="*/ 1272 w 1321"/>
                <a:gd name="T11" fmla="*/ 225 h 476"/>
                <a:gd name="T12" fmla="*/ 1272 w 1321"/>
                <a:gd name="T13" fmla="*/ 49 h 476"/>
                <a:gd name="T14" fmla="*/ 1096 w 1321"/>
                <a:gd name="T15" fmla="*/ 48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21" h="476" extrusionOk="0">
                  <a:moveTo>
                    <a:pt x="1096" y="48"/>
                  </a:moveTo>
                  <a:cubicBezTo>
                    <a:pt x="856" y="287"/>
                    <a:pt x="465" y="287"/>
                    <a:pt x="225" y="48"/>
                  </a:cubicBezTo>
                  <a:cubicBezTo>
                    <a:pt x="176" y="0"/>
                    <a:pt x="97" y="0"/>
                    <a:pt x="49" y="49"/>
                  </a:cubicBezTo>
                  <a:cubicBezTo>
                    <a:pt x="0" y="97"/>
                    <a:pt x="0" y="176"/>
                    <a:pt x="49" y="225"/>
                  </a:cubicBezTo>
                  <a:cubicBezTo>
                    <a:pt x="218" y="393"/>
                    <a:pt x="439" y="476"/>
                    <a:pt x="660" y="476"/>
                  </a:cubicBezTo>
                  <a:cubicBezTo>
                    <a:pt x="882" y="476"/>
                    <a:pt x="1103" y="393"/>
                    <a:pt x="1272" y="225"/>
                  </a:cubicBezTo>
                  <a:cubicBezTo>
                    <a:pt x="1321" y="176"/>
                    <a:pt x="1321" y="97"/>
                    <a:pt x="1272" y="49"/>
                  </a:cubicBezTo>
                  <a:cubicBezTo>
                    <a:pt x="1224" y="0"/>
                    <a:pt x="1145" y="0"/>
                    <a:pt x="1096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07" name="Freeform 99"/>
            <p:cNvSpPr/>
            <p:nvPr/>
          </p:nvSpPr>
          <p:spPr bwMode="auto">
            <a:xfrm>
              <a:off x="1846263" y="2760663"/>
              <a:ext cx="93663" cy="44450"/>
            </a:xfrm>
            <a:custGeom>
              <a:avLst/>
              <a:gdLst>
                <a:gd name="T0" fmla="*/ 730 w 955"/>
                <a:gd name="T1" fmla="*/ 411 h 460"/>
                <a:gd name="T2" fmla="*/ 818 w 955"/>
                <a:gd name="T3" fmla="*/ 448 h 460"/>
                <a:gd name="T4" fmla="*/ 906 w 955"/>
                <a:gd name="T5" fmla="*/ 411 h 460"/>
                <a:gd name="T6" fmla="*/ 906 w 955"/>
                <a:gd name="T7" fmla="*/ 234 h 460"/>
                <a:gd name="T8" fmla="*/ 49 w 955"/>
                <a:gd name="T9" fmla="*/ 234 h 460"/>
                <a:gd name="T10" fmla="*/ 48 w 955"/>
                <a:gd name="T11" fmla="*/ 411 h 460"/>
                <a:gd name="T12" fmla="*/ 225 w 955"/>
                <a:gd name="T13" fmla="*/ 411 h 460"/>
                <a:gd name="T14" fmla="*/ 730 w 955"/>
                <a:gd name="T15" fmla="*/ 411 h 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55" h="460" extrusionOk="0">
                  <a:moveTo>
                    <a:pt x="730" y="411"/>
                  </a:moveTo>
                  <a:cubicBezTo>
                    <a:pt x="754" y="436"/>
                    <a:pt x="786" y="448"/>
                    <a:pt x="818" y="448"/>
                  </a:cubicBezTo>
                  <a:cubicBezTo>
                    <a:pt x="850" y="448"/>
                    <a:pt x="882" y="435"/>
                    <a:pt x="906" y="411"/>
                  </a:cubicBezTo>
                  <a:cubicBezTo>
                    <a:pt x="955" y="362"/>
                    <a:pt x="955" y="283"/>
                    <a:pt x="906" y="234"/>
                  </a:cubicBezTo>
                  <a:cubicBezTo>
                    <a:pt x="669" y="0"/>
                    <a:pt x="285" y="0"/>
                    <a:pt x="49" y="234"/>
                  </a:cubicBezTo>
                  <a:cubicBezTo>
                    <a:pt x="0" y="283"/>
                    <a:pt x="0" y="362"/>
                    <a:pt x="48" y="411"/>
                  </a:cubicBezTo>
                  <a:cubicBezTo>
                    <a:pt x="97" y="460"/>
                    <a:pt x="176" y="460"/>
                    <a:pt x="225" y="411"/>
                  </a:cubicBezTo>
                  <a:cubicBezTo>
                    <a:pt x="364" y="273"/>
                    <a:pt x="590" y="273"/>
                    <a:pt x="730" y="4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08" name="Freeform 100"/>
            <p:cNvSpPr/>
            <p:nvPr/>
          </p:nvSpPr>
          <p:spPr bwMode="auto">
            <a:xfrm>
              <a:off x="2006600" y="2760663"/>
              <a:ext cx="92075" cy="44450"/>
            </a:xfrm>
            <a:custGeom>
              <a:avLst/>
              <a:gdLst>
                <a:gd name="T0" fmla="*/ 49 w 955"/>
                <a:gd name="T1" fmla="*/ 411 h 460"/>
                <a:gd name="T2" fmla="*/ 137 w 955"/>
                <a:gd name="T3" fmla="*/ 448 h 460"/>
                <a:gd name="T4" fmla="*/ 225 w 955"/>
                <a:gd name="T5" fmla="*/ 411 h 460"/>
                <a:gd name="T6" fmla="*/ 730 w 955"/>
                <a:gd name="T7" fmla="*/ 411 h 460"/>
                <a:gd name="T8" fmla="*/ 907 w 955"/>
                <a:gd name="T9" fmla="*/ 411 h 460"/>
                <a:gd name="T10" fmla="*/ 906 w 955"/>
                <a:gd name="T11" fmla="*/ 234 h 460"/>
                <a:gd name="T12" fmla="*/ 49 w 955"/>
                <a:gd name="T13" fmla="*/ 234 h 460"/>
                <a:gd name="T14" fmla="*/ 49 w 955"/>
                <a:gd name="T15" fmla="*/ 411 h 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55" h="460" extrusionOk="0">
                  <a:moveTo>
                    <a:pt x="49" y="411"/>
                  </a:moveTo>
                  <a:cubicBezTo>
                    <a:pt x="73" y="435"/>
                    <a:pt x="105" y="448"/>
                    <a:pt x="137" y="448"/>
                  </a:cubicBezTo>
                  <a:cubicBezTo>
                    <a:pt x="169" y="448"/>
                    <a:pt x="201" y="436"/>
                    <a:pt x="225" y="411"/>
                  </a:cubicBezTo>
                  <a:cubicBezTo>
                    <a:pt x="364" y="273"/>
                    <a:pt x="591" y="273"/>
                    <a:pt x="730" y="411"/>
                  </a:cubicBezTo>
                  <a:cubicBezTo>
                    <a:pt x="779" y="460"/>
                    <a:pt x="858" y="460"/>
                    <a:pt x="907" y="411"/>
                  </a:cubicBezTo>
                  <a:cubicBezTo>
                    <a:pt x="955" y="362"/>
                    <a:pt x="955" y="283"/>
                    <a:pt x="906" y="234"/>
                  </a:cubicBezTo>
                  <a:cubicBezTo>
                    <a:pt x="670" y="0"/>
                    <a:pt x="285" y="0"/>
                    <a:pt x="49" y="234"/>
                  </a:cubicBezTo>
                  <a:cubicBezTo>
                    <a:pt x="0" y="283"/>
                    <a:pt x="0" y="362"/>
                    <a:pt x="49" y="4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09" name="Freeform 101"/>
            <p:cNvSpPr/>
            <p:nvPr/>
          </p:nvSpPr>
          <p:spPr bwMode="auto">
            <a:xfrm>
              <a:off x="1882775" y="2816226"/>
              <a:ext cx="23813" cy="58738"/>
            </a:xfrm>
            <a:custGeom>
              <a:avLst/>
              <a:gdLst>
                <a:gd name="T0" fmla="*/ 124 w 249"/>
                <a:gd name="T1" fmla="*/ 0 h 599"/>
                <a:gd name="T2" fmla="*/ 0 w 249"/>
                <a:gd name="T3" fmla="*/ 125 h 599"/>
                <a:gd name="T4" fmla="*/ 0 w 249"/>
                <a:gd name="T5" fmla="*/ 475 h 599"/>
                <a:gd name="T6" fmla="*/ 124 w 249"/>
                <a:gd name="T7" fmla="*/ 599 h 599"/>
                <a:gd name="T8" fmla="*/ 249 w 249"/>
                <a:gd name="T9" fmla="*/ 475 h 599"/>
                <a:gd name="T10" fmla="*/ 249 w 249"/>
                <a:gd name="T11" fmla="*/ 125 h 599"/>
                <a:gd name="T12" fmla="*/ 124 w 249"/>
                <a:gd name="T13" fmla="*/ 0 h 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9" h="599" extrusionOk="0">
                  <a:moveTo>
                    <a:pt x="124" y="0"/>
                  </a:moveTo>
                  <a:cubicBezTo>
                    <a:pt x="55" y="0"/>
                    <a:pt x="0" y="56"/>
                    <a:pt x="0" y="125"/>
                  </a:cubicBezTo>
                  <a:lnTo>
                    <a:pt x="0" y="475"/>
                  </a:lnTo>
                  <a:cubicBezTo>
                    <a:pt x="0" y="543"/>
                    <a:pt x="55" y="599"/>
                    <a:pt x="124" y="599"/>
                  </a:cubicBezTo>
                  <a:cubicBezTo>
                    <a:pt x="193" y="599"/>
                    <a:pt x="249" y="543"/>
                    <a:pt x="249" y="475"/>
                  </a:cubicBezTo>
                  <a:lnTo>
                    <a:pt x="249" y="125"/>
                  </a:lnTo>
                  <a:cubicBezTo>
                    <a:pt x="249" y="56"/>
                    <a:pt x="193" y="0"/>
                    <a:pt x="12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10" name="Freeform 102"/>
            <p:cNvSpPr/>
            <p:nvPr/>
          </p:nvSpPr>
          <p:spPr bwMode="auto">
            <a:xfrm>
              <a:off x="2038349" y="2816226"/>
              <a:ext cx="23813" cy="58738"/>
            </a:xfrm>
            <a:custGeom>
              <a:avLst/>
              <a:gdLst>
                <a:gd name="T0" fmla="*/ 125 w 249"/>
                <a:gd name="T1" fmla="*/ 0 h 599"/>
                <a:gd name="T2" fmla="*/ 0 w 249"/>
                <a:gd name="T3" fmla="*/ 125 h 599"/>
                <a:gd name="T4" fmla="*/ 0 w 249"/>
                <a:gd name="T5" fmla="*/ 475 h 599"/>
                <a:gd name="T6" fmla="*/ 125 w 249"/>
                <a:gd name="T7" fmla="*/ 599 h 599"/>
                <a:gd name="T8" fmla="*/ 249 w 249"/>
                <a:gd name="T9" fmla="*/ 475 h 599"/>
                <a:gd name="T10" fmla="*/ 249 w 249"/>
                <a:gd name="T11" fmla="*/ 125 h 599"/>
                <a:gd name="T12" fmla="*/ 125 w 249"/>
                <a:gd name="T13" fmla="*/ 0 h 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9" h="599" extrusionOk="0"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lnTo>
                    <a:pt x="0" y="475"/>
                  </a:lnTo>
                  <a:cubicBezTo>
                    <a:pt x="0" y="543"/>
                    <a:pt x="56" y="599"/>
                    <a:pt x="125" y="599"/>
                  </a:cubicBezTo>
                  <a:cubicBezTo>
                    <a:pt x="193" y="599"/>
                    <a:pt x="249" y="543"/>
                    <a:pt x="249" y="475"/>
                  </a:cubicBezTo>
                  <a:lnTo>
                    <a:pt x="249" y="125"/>
                  </a:lnTo>
                  <a:cubicBezTo>
                    <a:pt x="249" y="56"/>
                    <a:pt x="193" y="0"/>
                    <a:pt x="12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1" name="Прямоугольник 30"/>
          <p:cNvSpPr/>
          <p:nvPr/>
        </p:nvSpPr>
        <p:spPr bwMode="auto">
          <a:xfrm>
            <a:off x="5337673" y="0"/>
            <a:ext cx="6854326" cy="6858000"/>
          </a:xfrm>
          <a:prstGeom prst="rect">
            <a:avLst/>
          </a:prstGeom>
          <a:solidFill>
            <a:srgbClr val="70BF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/>
          <a:srcRect l="6638" t="51931" r="80591" b="26855"/>
          <a:stretch/>
        </p:blipFill>
        <p:spPr bwMode="auto">
          <a:xfrm>
            <a:off x="9069690" y="3256868"/>
            <a:ext cx="932146" cy="870945"/>
          </a:xfrm>
          <a:prstGeom prst="rect">
            <a:avLst/>
          </a:prstGeom>
          <a:ln w="38100">
            <a:solidFill>
              <a:srgbClr val="088054"/>
            </a:solidFill>
          </a:ln>
        </p:spPr>
      </p:pic>
      <p:pic>
        <p:nvPicPr>
          <p:cNvPr id="34" name="Рисунок 33"/>
          <p:cNvPicPr>
            <a:picLocks noChangeAspect="1"/>
          </p:cNvPicPr>
          <p:nvPr/>
        </p:nvPicPr>
        <p:blipFill>
          <a:blip r:embed="rId2"/>
          <a:srcRect l="25247" t="51931" r="61982" b="26855"/>
          <a:stretch/>
        </p:blipFill>
        <p:spPr bwMode="auto">
          <a:xfrm>
            <a:off x="10231442" y="2608948"/>
            <a:ext cx="1625596" cy="1518866"/>
          </a:xfrm>
          <a:prstGeom prst="rect">
            <a:avLst/>
          </a:prstGeom>
          <a:ln w="38100">
            <a:solidFill>
              <a:srgbClr val="088054"/>
            </a:solidFill>
          </a:ln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2"/>
          <a:srcRect l="44180" t="52219" r="43049" b="27075"/>
          <a:stretch/>
        </p:blipFill>
        <p:spPr bwMode="auto">
          <a:xfrm>
            <a:off x="10231442" y="4393165"/>
            <a:ext cx="1624853" cy="1481854"/>
          </a:xfrm>
          <a:prstGeom prst="rect">
            <a:avLst/>
          </a:prstGeom>
          <a:ln w="38100">
            <a:solidFill>
              <a:srgbClr val="088054"/>
            </a:solidFill>
          </a:ln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2"/>
          <a:srcRect l="63042" t="52093" r="24186" b="26694"/>
          <a:stretch/>
        </p:blipFill>
        <p:spPr bwMode="auto">
          <a:xfrm>
            <a:off x="9301068" y="4391195"/>
            <a:ext cx="700768" cy="654758"/>
          </a:xfrm>
          <a:prstGeom prst="rect">
            <a:avLst/>
          </a:prstGeom>
          <a:ln w="38100">
            <a:solidFill>
              <a:srgbClr val="088054"/>
            </a:solidFill>
          </a:ln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2"/>
          <a:srcRect l="81732" t="51967" r="5497" b="26819"/>
          <a:stretch/>
        </p:blipFill>
        <p:spPr bwMode="auto">
          <a:xfrm>
            <a:off x="11128075" y="1663189"/>
            <a:ext cx="728220" cy="680408"/>
          </a:xfrm>
          <a:prstGeom prst="rect">
            <a:avLst/>
          </a:prstGeom>
          <a:ln w="38100">
            <a:solidFill>
              <a:srgbClr val="088054"/>
            </a:solidFill>
          </a:ln>
        </p:spPr>
      </p:pic>
      <p:sp>
        <p:nvSpPr>
          <p:cNvPr id="32" name="Равнобедренный треугольник 31"/>
          <p:cNvSpPr/>
          <p:nvPr/>
        </p:nvSpPr>
        <p:spPr bwMode="auto">
          <a:xfrm rot="5400000">
            <a:off x="3566768" y="1753011"/>
            <a:ext cx="6858001" cy="3351978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1814952" y="3749916"/>
            <a:ext cx="2183164" cy="579479"/>
          </a:xfrm>
          <a:prstGeom prst="rect">
            <a:avLst/>
          </a:prstGeom>
        </p:spPr>
        <p:txBody>
          <a:bodyPr wrap="square" lIns="0" anchor="ctr">
            <a:spAutoFit/>
          </a:bodyPr>
          <a:lstStyle/>
          <a:p>
            <a:pPr defTabSz="371475">
              <a:defRPr/>
            </a:pPr>
            <a:r>
              <a:rPr lang="ru-RU" sz="1600" b="1">
                <a:solidFill>
                  <a:srgbClr val="195137"/>
                </a:solidFill>
                <a:latin typeface="Arial"/>
                <a:cs typeface="Arial"/>
              </a:rPr>
              <a:t>ВОЛН ОБУЧЕНИЯ СЛУШАТЕЛЕЙ</a:t>
            </a:r>
            <a:endParaRPr lang="ru-RU" sz="1200" b="1">
              <a:solidFill>
                <a:srgbClr val="195137"/>
              </a:solidFill>
              <a:latin typeface="Arial"/>
              <a:cs typeface="Arial"/>
            </a:endParaRPr>
          </a:p>
        </p:txBody>
      </p:sp>
      <p:sp>
        <p:nvSpPr>
          <p:cNvPr id="16" name="Прямоугольник 15"/>
          <p:cNvSpPr/>
          <p:nvPr/>
        </p:nvSpPr>
        <p:spPr bwMode="auto">
          <a:xfrm>
            <a:off x="985173" y="3714575"/>
            <a:ext cx="917556" cy="692999"/>
          </a:xfrm>
          <a:prstGeom prst="rect">
            <a:avLst/>
          </a:prstGeom>
          <a:noFill/>
        </p:spPr>
        <p:txBody>
          <a:bodyPr wrap="square" tIns="72000" rIns="108000" bIns="72000" anchor="ctr">
            <a:spAutoFit/>
          </a:bodyPr>
          <a:lstStyle/>
          <a:p>
            <a:pPr algn="ctr" defTabSz="371475">
              <a:defRPr/>
            </a:pPr>
            <a:r>
              <a:rPr lang="ru-RU" sz="3600" b="1">
                <a:solidFill>
                  <a:srgbClr val="088054"/>
                </a:solidFill>
                <a:latin typeface="Ristretto Pro"/>
                <a:cs typeface="Arial"/>
              </a:rPr>
              <a:t>9</a:t>
            </a:r>
          </a:p>
        </p:txBody>
      </p:sp>
      <p:sp>
        <p:nvSpPr>
          <p:cNvPr id="28" name="Прямоугольник 27"/>
          <p:cNvSpPr/>
          <p:nvPr/>
        </p:nvSpPr>
        <p:spPr bwMode="auto">
          <a:xfrm>
            <a:off x="996147" y="4527178"/>
            <a:ext cx="6509546" cy="1250039"/>
          </a:xfrm>
          <a:prstGeom prst="rect">
            <a:avLst/>
          </a:prstGeom>
        </p:spPr>
        <p:txBody>
          <a:bodyPr wrap="square" lIns="0" anchor="ctr">
            <a:spAutoFit/>
          </a:bodyPr>
          <a:lstStyle/>
          <a:p>
            <a:pPr defTabSz="371475">
              <a:defRPr/>
            </a:pPr>
            <a:r>
              <a:rPr lang="ru-RU" sz="2400" b="1">
                <a:solidFill>
                  <a:srgbClr val="195137"/>
                </a:solidFill>
                <a:latin typeface="Arial"/>
                <a:cs typeface="Arial"/>
              </a:rPr>
              <a:t/>
            </a:r>
            <a:br>
              <a:rPr lang="ru-RU" sz="2400" b="1">
                <a:solidFill>
                  <a:srgbClr val="195137"/>
                </a:solidFill>
                <a:latin typeface="Arial"/>
                <a:cs typeface="Arial"/>
              </a:rPr>
            </a:br>
            <a:r>
              <a:rPr lang="ru-RU" sz="2800" b="1">
                <a:solidFill>
                  <a:srgbClr val="195137"/>
                </a:solidFill>
                <a:latin typeface="Arial"/>
                <a:cs typeface="Arial"/>
              </a:rPr>
              <a:t>55 </a:t>
            </a:r>
            <a:r>
              <a:rPr lang="ru-RU" sz="2400" b="1">
                <a:solidFill>
                  <a:srgbClr val="195137"/>
                </a:solidFill>
                <a:latin typeface="Arial"/>
                <a:cs typeface="Arial"/>
              </a:rPr>
              <a:t>Регионов участников; </a:t>
            </a:r>
            <a:r>
              <a:rPr lang="ru-RU" sz="2800" b="1">
                <a:solidFill>
                  <a:srgbClr val="195137"/>
                </a:solidFill>
                <a:latin typeface="Arial"/>
                <a:cs typeface="Arial"/>
              </a:rPr>
              <a:t>56</a:t>
            </a:r>
            <a:r>
              <a:rPr lang="ru-RU" sz="2400" b="1">
                <a:solidFill>
                  <a:srgbClr val="195137"/>
                </a:solidFill>
                <a:latin typeface="Arial"/>
                <a:cs typeface="Arial"/>
              </a:rPr>
              <a:t> Высших учебных заведений </a:t>
            </a:r>
          </a:p>
        </p:txBody>
      </p:sp>
      <p:sp>
        <p:nvSpPr>
          <p:cNvPr id="27" name="Прямоугольник 26"/>
          <p:cNvSpPr/>
          <p:nvPr/>
        </p:nvSpPr>
        <p:spPr bwMode="auto">
          <a:xfrm>
            <a:off x="1814952" y="3719796"/>
            <a:ext cx="4973393" cy="692999"/>
          </a:xfrm>
          <a:prstGeom prst="rect">
            <a:avLst/>
          </a:prstGeom>
          <a:noFill/>
        </p:spPr>
        <p:txBody>
          <a:bodyPr wrap="square" tIns="72000" rIns="108000" bIns="72000" anchor="ctr">
            <a:spAutoFit/>
          </a:bodyPr>
          <a:lstStyle/>
          <a:p>
            <a:pPr algn="ctr" defTabSz="371475">
              <a:defRPr/>
            </a:pPr>
            <a:r>
              <a:rPr lang="ru-RU" sz="3600" b="1">
                <a:solidFill>
                  <a:srgbClr val="088054"/>
                </a:solidFill>
                <a:latin typeface="Ristretto Pro"/>
                <a:cs typeface="Arial"/>
              </a:rPr>
              <a:t>7000 </a:t>
            </a:r>
            <a:endParaRPr lang="ru-RU" sz="8800" b="1">
              <a:solidFill>
                <a:srgbClr val="088054"/>
              </a:solidFill>
              <a:latin typeface="Ristretto Pro"/>
              <a:cs typeface="Arial"/>
            </a:endParaRPr>
          </a:p>
        </p:txBody>
      </p:sp>
      <p:sp>
        <p:nvSpPr>
          <p:cNvPr id="26" name="Прямоугольник 25"/>
          <p:cNvSpPr/>
          <p:nvPr/>
        </p:nvSpPr>
        <p:spPr bwMode="auto">
          <a:xfrm>
            <a:off x="4902159" y="3787337"/>
            <a:ext cx="3283935" cy="579479"/>
          </a:xfrm>
          <a:prstGeom prst="rect">
            <a:avLst/>
          </a:prstGeom>
        </p:spPr>
        <p:txBody>
          <a:bodyPr wrap="square" lIns="0" anchor="ctr">
            <a:spAutoFit/>
          </a:bodyPr>
          <a:lstStyle/>
          <a:p>
            <a:pPr defTabSz="371475">
              <a:defRPr/>
            </a:pPr>
            <a:r>
              <a:rPr lang="ru-RU" sz="1600" b="1">
                <a:solidFill>
                  <a:srgbClr val="195137"/>
                </a:solidFill>
                <a:latin typeface="Arial"/>
                <a:cs typeface="Arial"/>
              </a:rPr>
              <a:t>НАЧИНАЮЩИХ И ДЕЙСТВУЮЩИХ ФЕРМЕРОВ</a:t>
            </a:r>
            <a:endParaRPr sz="1600" b="1">
              <a:solidFill>
                <a:srgbClr val="195137"/>
              </a:solidFill>
              <a:latin typeface="Arial"/>
              <a:cs typeface="Arial"/>
            </a:endParaRPr>
          </a:p>
        </p:txBody>
      </p:sp>
      <p:sp>
        <p:nvSpPr>
          <p:cNvPr id="8" name="TextBox 7"/>
          <p:cNvSpPr txBox="1"/>
          <p:nvPr/>
        </p:nvSpPr>
        <p:spPr bwMode="auto">
          <a:xfrm>
            <a:off x="996147" y="1736012"/>
            <a:ext cx="6000339" cy="182915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ru-RU" sz="2000" b="1">
                <a:solidFill>
                  <a:srgbClr val="000000"/>
                </a:solidFill>
                <a:latin typeface="Proxima Nova Rg"/>
                <a:cs typeface="Arial"/>
              </a:rPr>
              <a:t>Обучение в Школе фермера позволяет получить</a:t>
            </a:r>
            <a:r>
              <a:rPr lang="ru-RU" sz="2000">
                <a:solidFill>
                  <a:srgbClr val="000000"/>
                </a:solidFill>
                <a:latin typeface="Proxima Nova Rg"/>
                <a:cs typeface="Arial"/>
              </a:rPr>
              <a:t> необходимые </a:t>
            </a:r>
            <a:r>
              <a:rPr lang="ru-RU" sz="2000" b="1">
                <a:solidFill>
                  <a:srgbClr val="000000"/>
                </a:solidFill>
                <a:latin typeface="Proxima Nova Rg"/>
                <a:cs typeface="Arial"/>
              </a:rPr>
              <a:t>знания и навыки для производства продукции АПК</a:t>
            </a:r>
            <a:r>
              <a:rPr lang="ru-RU" sz="2000">
                <a:solidFill>
                  <a:srgbClr val="000000"/>
                </a:solidFill>
                <a:latin typeface="Proxima Nova Rg"/>
                <a:cs typeface="Arial"/>
              </a:rPr>
              <a:t> и для встраивания в производственно-сбытовые цепочки</a:t>
            </a:r>
            <a:endParaRPr/>
          </a:p>
          <a:p>
            <a:pPr>
              <a:defRPr/>
            </a:pPr>
            <a:r>
              <a:rPr lang="ru-RU" sz="2000">
                <a:solidFill>
                  <a:srgbClr val="000000"/>
                </a:solidFill>
                <a:latin typeface="Proxima Nova Rg"/>
                <a:cs typeface="Arial"/>
              </a:rPr>
              <a:t>В период с 2020 по 2024 гг. </a:t>
            </a:r>
          </a:p>
        </p:txBody>
      </p:sp>
      <p:sp>
        <p:nvSpPr>
          <p:cNvPr id="46" name="Номер слайда 2"/>
          <p:cNvSpPr>
            <a:spLocks noGrp="1"/>
          </p:cNvSpPr>
          <p:nvPr>
            <p:ph type="sldNum" sz="quarter" idx="12"/>
          </p:nvPr>
        </p:nvSpPr>
        <p:spPr bwMode="auto">
          <a:xfrm>
            <a:off x="9120188" y="6554394"/>
            <a:ext cx="2727006" cy="153888"/>
          </a:xfrm>
        </p:spPr>
        <p:txBody>
          <a:bodyPr/>
          <a:lstStyle/>
          <a:p>
            <a:pPr>
              <a:defRPr/>
            </a:pPr>
            <a:fld id="{DAA9B757-E82C-4C61-B4AC-FDC45BBF87A6}" type="slidenum">
              <a:rPr lang="ru-RU" sz="1100"/>
              <a:t>3</a:t>
            </a:fld>
            <a:endParaRPr lang="ru-RU" sz="1100"/>
          </a:p>
        </p:txBody>
      </p:sp>
      <p:sp>
        <p:nvSpPr>
          <p:cNvPr id="25" name="Прямоугольник 24"/>
          <p:cNvSpPr/>
          <p:nvPr/>
        </p:nvSpPr>
        <p:spPr bwMode="auto">
          <a:xfrm>
            <a:off x="367922" y="440016"/>
            <a:ext cx="9283530" cy="707886"/>
          </a:xfrm>
          <a:prstGeom prst="rect">
            <a:avLst/>
          </a:prstGeom>
          <a:solidFill>
            <a:srgbClr val="34712A"/>
          </a:solidFill>
        </p:spPr>
        <p:txBody>
          <a:bodyPr wrap="square">
            <a:spAutoFit/>
          </a:bodyPr>
          <a:lstStyle/>
          <a:p>
            <a:pPr marL="261938" indent="-261938">
              <a:defRPr/>
            </a:pPr>
            <a:r>
              <a:rPr lang="ru-RU" sz="4000" b="1">
                <a:solidFill>
                  <a:schemeClr val="bg1"/>
                </a:solidFill>
                <a:latin typeface="Arial"/>
                <a:cs typeface="Arial"/>
              </a:rPr>
              <a:t>  </a:t>
            </a:r>
            <a:r>
              <a:rPr lang="ru-RU" sz="3800" b="1">
                <a:solidFill>
                  <a:schemeClr val="bg1"/>
                </a:solidFill>
                <a:latin typeface="Arial"/>
                <a:cs typeface="Arial"/>
              </a:rPr>
              <a:t>ОБЩАЯ ИНФОРМАЦИЯ О ПРОЕКТЕ</a:t>
            </a:r>
          </a:p>
        </p:txBody>
      </p:sp>
      <p:sp>
        <p:nvSpPr>
          <p:cNvPr id="5" name="Прямоугольник 4"/>
          <p:cNvSpPr/>
          <p:nvPr/>
        </p:nvSpPr>
        <p:spPr bwMode="auto">
          <a:xfrm>
            <a:off x="764460" y="1680213"/>
            <a:ext cx="124061" cy="128690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10361110" y="276377"/>
            <a:ext cx="1536950" cy="44752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33" name="Рисунок 32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10487025" y="275326"/>
            <a:ext cx="1372868" cy="383938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rcRect b="12147"/>
          <a:stretch/>
        </p:blipFill>
        <p:spPr bwMode="auto">
          <a:xfrm>
            <a:off x="5440279" y="-1"/>
            <a:ext cx="6745630" cy="6845301"/>
          </a:xfrm>
          <a:prstGeom prst="rect">
            <a:avLst/>
          </a:prstGeom>
        </p:spPr>
      </p:pic>
      <p:sp>
        <p:nvSpPr>
          <p:cNvPr id="32" name="Равнобедренный треугольник 31"/>
          <p:cNvSpPr/>
          <p:nvPr/>
        </p:nvSpPr>
        <p:spPr bwMode="auto">
          <a:xfrm rot="5400000">
            <a:off x="3675057" y="1753012"/>
            <a:ext cx="6858001" cy="3351978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334963" y="510377"/>
            <a:ext cx="8489723" cy="707886"/>
          </a:xfrm>
          <a:prstGeom prst="rect">
            <a:avLst/>
          </a:prstGeom>
          <a:solidFill>
            <a:srgbClr val="F5DC27"/>
          </a:solidFill>
        </p:spPr>
        <p:txBody>
          <a:bodyPr wrap="square">
            <a:spAutoFit/>
          </a:bodyPr>
          <a:lstStyle/>
          <a:p>
            <a:pPr marL="261938" indent="-261938">
              <a:defRPr/>
            </a:pPr>
            <a:r>
              <a:rPr lang="ru-RU" sz="4000" b="1">
                <a:solidFill>
                  <a:schemeClr val="bg1"/>
                </a:solidFill>
                <a:latin typeface="Arial"/>
                <a:cs typeface="Arial"/>
              </a:rPr>
              <a:t>  КЛЮЧЕВЫЕ УЧАСТНИКИ</a:t>
            </a:r>
            <a:endParaRPr lang="ru-RU" sz="3600" b="1">
              <a:solidFill>
                <a:schemeClr val="bg1"/>
              </a:solidFill>
              <a:latin typeface="Arial"/>
              <a:cs typeface="Arial"/>
            </a:endParaRPr>
          </a:p>
        </p:txBody>
      </p:sp>
      <p:grpSp>
        <p:nvGrpSpPr>
          <p:cNvPr id="88" name="Группа 87"/>
          <p:cNvGrpSpPr/>
          <p:nvPr/>
        </p:nvGrpSpPr>
        <p:grpSpPr bwMode="auto">
          <a:xfrm>
            <a:off x="689549" y="2565473"/>
            <a:ext cx="5755085" cy="793974"/>
            <a:chOff x="0" y="0"/>
            <a:chExt cx="5755085" cy="793974"/>
          </a:xfrm>
        </p:grpSpPr>
        <p:sp>
          <p:nvSpPr>
            <p:cNvPr id="10" name="TextBox 9"/>
            <p:cNvSpPr txBox="1"/>
            <p:nvPr/>
          </p:nvSpPr>
          <p:spPr bwMode="auto">
            <a:xfrm>
              <a:off x="871602" y="62094"/>
              <a:ext cx="4883482" cy="7318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900" b="1">
                  <a:latin typeface="+mj-lt"/>
                  <a:ea typeface="Microsoft JhengHei Light"/>
                </a:defRPr>
              </a:lvl1pPr>
            </a:lstStyle>
            <a:p>
              <a:pPr>
                <a:defRPr/>
              </a:pPr>
              <a:r>
                <a:rPr lang="ru-RU" sz="1400">
                  <a:solidFill>
                    <a:srgbClr val="000000"/>
                  </a:solidFill>
                  <a:latin typeface="Proxima Nova Rg"/>
                </a:rPr>
                <a:t>Министерство сельского хозяйства и рыбной промышленности Астраханской области</a:t>
              </a:r>
              <a:br>
                <a:rPr lang="ru-RU" sz="1400">
                  <a:solidFill>
                    <a:srgbClr val="000000"/>
                  </a:solidFill>
                  <a:latin typeface="Proxima Nova Rg"/>
                </a:rPr>
              </a:br>
              <a:r>
                <a:rPr lang="ru-RU" sz="1400" b="0">
                  <a:solidFill>
                    <a:srgbClr val="000000"/>
                  </a:solidFill>
                  <a:latin typeface="Proxima Nova Rg"/>
                </a:rPr>
                <a:t>Российской Федерации</a:t>
              </a:r>
            </a:p>
          </p:txBody>
        </p:sp>
        <p:grpSp>
          <p:nvGrpSpPr>
            <p:cNvPr id="66" name="Группа 65"/>
            <p:cNvGrpSpPr/>
            <p:nvPr/>
          </p:nvGrpSpPr>
          <p:grpSpPr bwMode="auto">
            <a:xfrm>
              <a:off x="0" y="0"/>
              <a:ext cx="647409" cy="647409"/>
              <a:chOff x="0" y="0"/>
              <a:chExt cx="647409" cy="647409"/>
            </a:xfrm>
          </p:grpSpPr>
          <p:sp>
            <p:nvSpPr>
              <p:cNvPr id="77" name="Овал 76"/>
              <p:cNvSpPr/>
              <p:nvPr/>
            </p:nvSpPr>
            <p:spPr bwMode="auto">
              <a:xfrm>
                <a:off x="0" y="0"/>
                <a:ext cx="647409" cy="647409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/>
              </a:p>
            </p:txBody>
          </p:sp>
          <p:pic>
            <p:nvPicPr>
              <p:cNvPr id="70" name="Рисунок 69"/>
              <p:cNvPicPr>
                <a:picLocks noChangeAspect="1"/>
              </p:cNvPicPr>
              <p:nvPr/>
            </p:nvPicPr>
            <p:blipFill>
              <a:blip r:embed="rId4"/>
              <a:srcRect l="13101" r="12944" b="28334"/>
              <a:stretch/>
            </p:blipFill>
            <p:spPr bwMode="auto">
              <a:xfrm>
                <a:off x="26014" y="27591"/>
                <a:ext cx="611126" cy="592226"/>
              </a:xfrm>
              <a:prstGeom prst="ellipse">
                <a:avLst/>
              </a:prstGeom>
            </p:spPr>
          </p:pic>
        </p:grpSp>
      </p:grpSp>
      <p:grpSp>
        <p:nvGrpSpPr>
          <p:cNvPr id="91" name="Группа 90"/>
          <p:cNvGrpSpPr/>
          <p:nvPr/>
        </p:nvGrpSpPr>
        <p:grpSpPr bwMode="auto">
          <a:xfrm>
            <a:off x="689549" y="4444017"/>
            <a:ext cx="5811927" cy="731879"/>
            <a:chOff x="0" y="0"/>
            <a:chExt cx="5811927" cy="731879"/>
          </a:xfrm>
        </p:grpSpPr>
        <p:sp>
          <p:nvSpPr>
            <p:cNvPr id="15" name="TextBox 14"/>
            <p:cNvSpPr txBox="1"/>
            <p:nvPr/>
          </p:nvSpPr>
          <p:spPr bwMode="auto">
            <a:xfrm>
              <a:off x="871602" y="0"/>
              <a:ext cx="4940324" cy="7318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900" b="1">
                  <a:latin typeface="+mj-lt"/>
                  <a:ea typeface="Microsoft JhengHei Light"/>
                </a:defRPr>
              </a:lvl1pPr>
            </a:lstStyle>
            <a:p>
              <a:pPr>
                <a:defRPr/>
              </a:pPr>
              <a:r>
                <a:rPr lang="ru-RU" sz="1400">
                  <a:solidFill>
                    <a:srgbClr val="000000"/>
                  </a:solidFill>
                  <a:latin typeface="Proxima Nova Rg"/>
                </a:rPr>
                <a:t>Представители некоммерческих организаций</a:t>
              </a:r>
              <a:r>
                <a:rPr lang="ru-RU" sz="1400" b="0">
                  <a:solidFill>
                    <a:srgbClr val="000000"/>
                  </a:solidFill>
                  <a:latin typeface="Proxima Nova Rg"/>
                </a:rPr>
                <a:t>, отраслевых союзов, </a:t>
              </a:r>
              <a:r>
                <a:rPr lang="ru-RU" sz="1400">
                  <a:solidFill>
                    <a:srgbClr val="000000"/>
                  </a:solidFill>
                  <a:latin typeface="Proxima Nova Rg"/>
                </a:rPr>
                <a:t>региональные центры </a:t>
              </a:r>
              <a:r>
                <a:rPr lang="ru-RU" sz="1400" b="0">
                  <a:solidFill>
                    <a:srgbClr val="000000"/>
                  </a:solidFill>
                  <a:latin typeface="Proxima Nova Rg"/>
                </a:rPr>
                <a:t>сельскохозяйственного консультирования</a:t>
              </a:r>
            </a:p>
          </p:txBody>
        </p:sp>
        <p:grpSp>
          <p:nvGrpSpPr>
            <p:cNvPr id="81" name="Группа 80"/>
            <p:cNvGrpSpPr/>
            <p:nvPr/>
          </p:nvGrpSpPr>
          <p:grpSpPr bwMode="auto">
            <a:xfrm>
              <a:off x="0" y="45626"/>
              <a:ext cx="647409" cy="647409"/>
              <a:chOff x="0" y="0"/>
              <a:chExt cx="647409" cy="647409"/>
            </a:xfrm>
          </p:grpSpPr>
          <p:sp>
            <p:nvSpPr>
              <p:cNvPr id="82" name="Овал 81"/>
              <p:cNvSpPr/>
              <p:nvPr/>
            </p:nvSpPr>
            <p:spPr bwMode="auto">
              <a:xfrm>
                <a:off x="0" y="0"/>
                <a:ext cx="647409" cy="647409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/>
              </a:p>
            </p:txBody>
          </p:sp>
          <p:grpSp>
            <p:nvGrpSpPr>
              <p:cNvPr id="78" name="Группа 77"/>
              <p:cNvGrpSpPr/>
              <p:nvPr/>
            </p:nvGrpSpPr>
            <p:grpSpPr bwMode="auto">
              <a:xfrm>
                <a:off x="55060" y="59972"/>
                <a:ext cx="535050" cy="535050"/>
                <a:chOff x="0" y="0"/>
                <a:chExt cx="535050" cy="535050"/>
              </a:xfrm>
            </p:grpSpPr>
            <p:sp>
              <p:nvSpPr>
                <p:cNvPr id="83" name="Овал 82"/>
                <p:cNvSpPr/>
                <p:nvPr/>
              </p:nvSpPr>
              <p:spPr bwMode="auto">
                <a:xfrm>
                  <a:off x="0" y="0"/>
                  <a:ext cx="535050" cy="535050"/>
                </a:xfrm>
                <a:prstGeom prst="ellipse">
                  <a:avLst/>
                </a:prstGeom>
                <a:solidFill>
                  <a:srgbClr val="006F3C"/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ru-RU"/>
                </a:p>
              </p:txBody>
            </p:sp>
            <p:pic>
              <p:nvPicPr>
                <p:cNvPr id="11" name="Рисунок 10"/>
                <p:cNvPicPr>
                  <a:picLocks noChangeAspect="1"/>
                </p:cNvPicPr>
                <p:nvPr/>
              </p:nvPicPr>
              <p:blipFill>
                <a:blip r:embed="rId5"/>
                <a:srcRect l="30928" t="31722" r="36127" b="10438"/>
                <a:stretch/>
              </p:blipFill>
              <p:spPr bwMode="auto">
                <a:xfrm>
                  <a:off x="31779" y="34571"/>
                  <a:ext cx="472315" cy="466410"/>
                </a:xfrm>
                <a:prstGeom prst="ellipse">
                  <a:avLst/>
                </a:prstGeom>
                <a:ln w="38100">
                  <a:solidFill>
                    <a:srgbClr val="006F3C"/>
                  </a:solidFill>
                </a:ln>
              </p:spPr>
            </p:pic>
          </p:grpSp>
        </p:grpSp>
      </p:grpSp>
      <p:grpSp>
        <p:nvGrpSpPr>
          <p:cNvPr id="87" name="Группа 86"/>
          <p:cNvGrpSpPr/>
          <p:nvPr/>
        </p:nvGrpSpPr>
        <p:grpSpPr bwMode="auto">
          <a:xfrm>
            <a:off x="689549" y="1534948"/>
            <a:ext cx="6460549" cy="738664"/>
            <a:chOff x="689549" y="1534948"/>
            <a:chExt cx="6460549" cy="738664"/>
          </a:xfrm>
        </p:grpSpPr>
        <p:grpSp>
          <p:nvGrpSpPr>
            <p:cNvPr id="68" name="Группа 67"/>
            <p:cNvGrpSpPr/>
            <p:nvPr/>
          </p:nvGrpSpPr>
          <p:grpSpPr bwMode="auto">
            <a:xfrm>
              <a:off x="689549" y="1580575"/>
              <a:ext cx="647409" cy="647409"/>
              <a:chOff x="548962" y="1540925"/>
              <a:chExt cx="783366" cy="783366"/>
            </a:xfrm>
          </p:grpSpPr>
          <p:sp>
            <p:nvSpPr>
              <p:cNvPr id="64" name="Овал 63"/>
              <p:cNvSpPr/>
              <p:nvPr/>
            </p:nvSpPr>
            <p:spPr bwMode="auto">
              <a:xfrm>
                <a:off x="548962" y="1540925"/>
                <a:ext cx="783366" cy="783366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/>
              </a:p>
            </p:txBody>
          </p:sp>
          <p:pic>
            <p:nvPicPr>
              <p:cNvPr id="69" name="Рисунок 68"/>
              <p:cNvPicPr>
                <a:picLocks noChangeAspect="1"/>
              </p:cNvPicPr>
              <p:nvPr/>
            </p:nvPicPr>
            <p:blipFill>
              <a:blip r:embed="rId6"/>
              <a:srcRect l="27997" t="22981" r="47402" b="31345"/>
              <a:stretch/>
            </p:blipFill>
            <p:spPr bwMode="auto">
              <a:xfrm>
                <a:off x="618462" y="1608608"/>
                <a:ext cx="644367" cy="648000"/>
              </a:xfrm>
              <a:prstGeom prst="ellipse">
                <a:avLst/>
              </a:prstGeom>
            </p:spPr>
          </p:pic>
        </p:grpSp>
        <p:sp>
          <p:nvSpPr>
            <p:cNvPr id="8" name="TextBox 7"/>
            <p:cNvSpPr txBox="1"/>
            <p:nvPr/>
          </p:nvSpPr>
          <p:spPr bwMode="auto">
            <a:xfrm>
              <a:off x="1561153" y="1534948"/>
              <a:ext cx="5588946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ru-RU" sz="1400" b="1">
                  <a:solidFill>
                    <a:srgbClr val="000000"/>
                  </a:solidFill>
                  <a:latin typeface="Proxima Nova Rg"/>
                  <a:ea typeface="Microsoft JhengHei Light"/>
                </a:rPr>
                <a:t>СУБЪЕКТ РФ,</a:t>
              </a:r>
              <a:br>
                <a:rPr lang="ru-RU" sz="1400" b="1">
                  <a:solidFill>
                    <a:srgbClr val="000000"/>
                  </a:solidFill>
                  <a:latin typeface="Proxima Nova Rg"/>
                  <a:ea typeface="Microsoft JhengHei Light"/>
                </a:rPr>
              </a:br>
              <a:r>
                <a:rPr lang="ru-RU" sz="1400">
                  <a:solidFill>
                    <a:srgbClr val="000000"/>
                  </a:solidFill>
                  <a:latin typeface="Proxima Nova Rg"/>
                  <a:ea typeface="Microsoft JhengHei Light"/>
                </a:rPr>
                <a:t>Представитель гос. рег. власти административно-территориальной, федеративной единицы</a:t>
              </a:r>
            </a:p>
          </p:txBody>
        </p:sp>
      </p:grpSp>
      <p:grpSp>
        <p:nvGrpSpPr>
          <p:cNvPr id="92" name="Группа 91"/>
          <p:cNvGrpSpPr/>
          <p:nvPr/>
        </p:nvGrpSpPr>
        <p:grpSpPr bwMode="auto">
          <a:xfrm>
            <a:off x="689549" y="5474542"/>
            <a:ext cx="5485269" cy="945239"/>
            <a:chOff x="0" y="0"/>
            <a:chExt cx="5485269" cy="945239"/>
          </a:xfrm>
        </p:grpSpPr>
        <p:sp>
          <p:nvSpPr>
            <p:cNvPr id="17" name="TextBox 16"/>
            <p:cNvSpPr txBox="1"/>
            <p:nvPr/>
          </p:nvSpPr>
          <p:spPr bwMode="auto">
            <a:xfrm>
              <a:off x="871602" y="0"/>
              <a:ext cx="4613666" cy="9452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900" b="1">
                  <a:latin typeface="+mj-lt"/>
                  <a:ea typeface="Microsoft JhengHei Light"/>
                </a:defRPr>
              </a:lvl1pPr>
            </a:lstStyle>
            <a:p>
              <a:pPr>
                <a:defRPr/>
              </a:pPr>
              <a:r>
                <a:rPr lang="ru-RU" sz="1400">
                  <a:solidFill>
                    <a:srgbClr val="000000"/>
                  </a:solidFill>
                  <a:latin typeface="Proxima Nova Rg"/>
                </a:rPr>
                <a:t>Крупные производители </a:t>
              </a:r>
              <a:r>
                <a:rPr lang="ru-RU" sz="1400" b="0">
                  <a:solidFill>
                    <a:srgbClr val="000000"/>
                  </a:solidFill>
                  <a:latin typeface="Proxima Nova Rg"/>
                </a:rPr>
                <a:t>и переработчики фермерской продукции, </a:t>
              </a:r>
              <a:r>
                <a:rPr lang="ru-RU" sz="1400">
                  <a:solidFill>
                    <a:srgbClr val="000000"/>
                  </a:solidFill>
                  <a:latin typeface="Proxima Nova Rg"/>
                </a:rPr>
                <a:t>лидеры мнений фермерского сообщества</a:t>
              </a:r>
              <a:r>
                <a:rPr lang="ru-RU" sz="1400" b="0">
                  <a:solidFill>
                    <a:srgbClr val="000000"/>
                  </a:solidFill>
                  <a:latin typeface="Proxima Nova Rg"/>
                </a:rPr>
                <a:t>, </a:t>
              </a:r>
              <a:endParaRPr/>
            </a:p>
            <a:p>
              <a:pPr>
                <a:defRPr/>
              </a:pPr>
              <a:endParaRPr lang="ru-RU" sz="1400" b="0">
                <a:solidFill>
                  <a:srgbClr val="000000"/>
                </a:solidFill>
                <a:latin typeface="Proxima Nova Rg"/>
              </a:endParaRPr>
            </a:p>
          </p:txBody>
        </p:sp>
        <p:grpSp>
          <p:nvGrpSpPr>
            <p:cNvPr id="85" name="Группа 84"/>
            <p:cNvGrpSpPr/>
            <p:nvPr/>
          </p:nvGrpSpPr>
          <p:grpSpPr bwMode="auto">
            <a:xfrm>
              <a:off x="0" y="153347"/>
              <a:ext cx="647409" cy="647409"/>
              <a:chOff x="0" y="0"/>
              <a:chExt cx="647409" cy="647409"/>
            </a:xfrm>
          </p:grpSpPr>
          <p:sp>
            <p:nvSpPr>
              <p:cNvPr id="86" name="Овал 85"/>
              <p:cNvSpPr/>
              <p:nvPr/>
            </p:nvSpPr>
            <p:spPr bwMode="auto">
              <a:xfrm>
                <a:off x="0" y="0"/>
                <a:ext cx="647409" cy="647409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/>
              </a:p>
            </p:txBody>
          </p:sp>
          <p:pic>
            <p:nvPicPr>
              <p:cNvPr id="89" name="Рисунок 88"/>
              <p:cNvPicPr>
                <a:picLocks noChangeAspect="1"/>
              </p:cNvPicPr>
              <p:nvPr/>
            </p:nvPicPr>
            <p:blipFill>
              <a:blip r:embed="rId7"/>
              <a:srcRect l="29059" t="954" r="5123" b="147"/>
              <a:stretch/>
            </p:blipFill>
            <p:spPr bwMode="auto">
              <a:xfrm>
                <a:off x="61899" y="47839"/>
                <a:ext cx="537462" cy="538650"/>
              </a:xfrm>
              <a:prstGeom prst="ellipse">
                <a:avLst/>
              </a:prstGeom>
            </p:spPr>
          </p:pic>
        </p:grpSp>
      </p:grpSp>
      <p:grpSp>
        <p:nvGrpSpPr>
          <p:cNvPr id="90" name="Группа 89"/>
          <p:cNvGrpSpPr/>
          <p:nvPr/>
        </p:nvGrpSpPr>
        <p:grpSpPr bwMode="auto">
          <a:xfrm>
            <a:off x="689549" y="3504745"/>
            <a:ext cx="6181508" cy="647409"/>
            <a:chOff x="0" y="0"/>
            <a:chExt cx="6181508" cy="647409"/>
          </a:xfrm>
        </p:grpSpPr>
        <p:grpSp>
          <p:nvGrpSpPr>
            <p:cNvPr id="79" name="Группа 78"/>
            <p:cNvGrpSpPr/>
            <p:nvPr/>
          </p:nvGrpSpPr>
          <p:grpSpPr bwMode="auto">
            <a:xfrm>
              <a:off x="0" y="0"/>
              <a:ext cx="647409" cy="647409"/>
              <a:chOff x="0" y="0"/>
              <a:chExt cx="647409" cy="647409"/>
            </a:xfrm>
          </p:grpSpPr>
          <p:sp>
            <p:nvSpPr>
              <p:cNvPr id="80" name="Овал 79"/>
              <p:cNvSpPr/>
              <p:nvPr/>
            </p:nvSpPr>
            <p:spPr bwMode="auto">
              <a:xfrm>
                <a:off x="0" y="0"/>
                <a:ext cx="647409" cy="647409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/>
              </a:p>
            </p:txBody>
          </p:sp>
          <p:pic>
            <p:nvPicPr>
              <p:cNvPr id="76" name="Рисунок 75"/>
              <p:cNvPicPr>
                <a:picLocks noChangeAspect="1"/>
              </p:cNvPicPr>
              <p:nvPr/>
            </p:nvPicPr>
            <p:blipFill>
              <a:blip r:embed="rId8"/>
              <a:stretch/>
            </p:blipFill>
            <p:spPr bwMode="auto">
              <a:xfrm>
                <a:off x="47318" y="56338"/>
                <a:ext cx="541225" cy="534730"/>
              </a:xfrm>
              <a:prstGeom prst="ellipse">
                <a:avLst/>
              </a:prstGeom>
            </p:spPr>
          </p:pic>
        </p:grpSp>
        <p:sp>
          <p:nvSpPr>
            <p:cNvPr id="14" name="TextBox 13"/>
            <p:cNvSpPr txBox="1"/>
            <p:nvPr/>
          </p:nvSpPr>
          <p:spPr bwMode="auto">
            <a:xfrm>
              <a:off x="871602" y="62094"/>
              <a:ext cx="5309905" cy="5185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900" b="1">
                  <a:latin typeface="+mj-lt"/>
                  <a:ea typeface="Microsoft JhengHei Light"/>
                </a:defRPr>
              </a:lvl1pPr>
            </a:lstStyle>
            <a:p>
              <a:pPr>
                <a:defRPr/>
              </a:pPr>
              <a:r>
                <a:rPr lang="ru-RU" sz="1400">
                  <a:solidFill>
                    <a:srgbClr val="000000"/>
                  </a:solidFill>
                  <a:latin typeface="Proxima Nova Rg"/>
                </a:rPr>
                <a:t>Аграрные учебные заведения</a:t>
              </a:r>
              <a:br>
                <a:rPr lang="ru-RU" sz="1400">
                  <a:solidFill>
                    <a:srgbClr val="000000"/>
                  </a:solidFill>
                  <a:latin typeface="Proxima Nova Rg"/>
                </a:rPr>
              </a:br>
              <a:endParaRPr lang="ru-RU" sz="1400" b="0">
                <a:solidFill>
                  <a:srgbClr val="000000"/>
                </a:solidFill>
                <a:latin typeface="Proxima Nova Rg"/>
              </a:endParaRPr>
            </a:p>
          </p:txBody>
        </p:sp>
      </p:grpSp>
      <p:pic>
        <p:nvPicPr>
          <p:cNvPr id="96" name="Рисунок 95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10639425" y="427726"/>
            <a:ext cx="1372868" cy="383938"/>
          </a:xfrm>
          <a:prstGeom prst="rect">
            <a:avLst/>
          </a:prstGeom>
        </p:spPr>
      </p:pic>
      <p:sp>
        <p:nvSpPr>
          <p:cNvPr id="97" name="Номер слайда 2"/>
          <p:cNvSpPr>
            <a:spLocks noGrp="1"/>
          </p:cNvSpPr>
          <p:nvPr>
            <p:ph type="sldNum" sz="quarter" idx="12"/>
          </p:nvPr>
        </p:nvSpPr>
        <p:spPr bwMode="auto">
          <a:xfrm>
            <a:off x="9120188" y="6554394"/>
            <a:ext cx="2727006" cy="153888"/>
          </a:xfrm>
        </p:spPr>
        <p:txBody>
          <a:bodyPr/>
          <a:lstStyle/>
          <a:p>
            <a:pPr>
              <a:defRPr/>
            </a:pPr>
            <a:fld id="{DAA9B757-E82C-4C61-B4AC-FDC45BBF87A6}" type="slidenum">
              <a:rPr lang="ru-RU" sz="1100"/>
              <a:t>4</a:t>
            </a:fld>
            <a:endParaRPr lang="ru-RU" sz="110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2" name="Рисунок 11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5334000" y="0"/>
            <a:ext cx="6858000" cy="6858000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 bwMode="auto">
          <a:xfrm>
            <a:off x="6989082" y="1218263"/>
            <a:ext cx="3590018" cy="1803201"/>
          </a:xfrm>
          <a:prstGeom prst="rect">
            <a:avLst/>
          </a:prstGeom>
          <a:solidFill>
            <a:srgbClr val="F7E4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00" name="Прямоугольник 99"/>
          <p:cNvSpPr/>
          <p:nvPr/>
        </p:nvSpPr>
        <p:spPr bwMode="auto">
          <a:xfrm>
            <a:off x="6357257" y="4984750"/>
            <a:ext cx="1995715" cy="1873250"/>
          </a:xfrm>
          <a:prstGeom prst="rect">
            <a:avLst/>
          </a:prstGeom>
          <a:solidFill>
            <a:srgbClr val="F7E3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3" name="Равнобедренный треугольник 12"/>
          <p:cNvSpPr/>
          <p:nvPr/>
        </p:nvSpPr>
        <p:spPr bwMode="auto">
          <a:xfrm rot="5400000">
            <a:off x="3579264" y="1754735"/>
            <a:ext cx="6858001" cy="3348531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3" name="TextBox 72"/>
          <p:cNvSpPr txBox="1"/>
          <p:nvPr/>
        </p:nvSpPr>
        <p:spPr bwMode="auto">
          <a:xfrm>
            <a:off x="539108" y="6361375"/>
            <a:ext cx="8747767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500"/>
              <a:t>* Тема обязательна к включению в учебно-тематический план проекта Школа фермера в регионах-участниках продвижения ГМТ в 2022 году.</a:t>
            </a:r>
          </a:p>
        </p:txBody>
      </p:sp>
      <p:sp>
        <p:nvSpPr>
          <p:cNvPr id="5" name="Равнобедренный треугольник 4"/>
          <p:cNvSpPr/>
          <p:nvPr/>
        </p:nvSpPr>
        <p:spPr bwMode="auto">
          <a:xfrm rot="5400000">
            <a:off x="4294011" y="1726531"/>
            <a:ext cx="6858000" cy="3404938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4615543" y="0"/>
            <a:ext cx="1404999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334963" y="510377"/>
            <a:ext cx="9409112" cy="707886"/>
          </a:xfrm>
          <a:prstGeom prst="rect">
            <a:avLst/>
          </a:prstGeom>
          <a:solidFill>
            <a:srgbClr val="73D119"/>
          </a:solidFill>
        </p:spPr>
        <p:txBody>
          <a:bodyPr wrap="square">
            <a:spAutoFit/>
          </a:bodyPr>
          <a:lstStyle/>
          <a:p>
            <a:pPr marL="261938" indent="-261938">
              <a:defRPr/>
            </a:pPr>
            <a:r>
              <a:rPr lang="ru-RU" sz="4000" b="1">
                <a:solidFill>
                  <a:schemeClr val="bg1"/>
                </a:solidFill>
                <a:latin typeface="Arial"/>
                <a:cs typeface="Arial"/>
              </a:rPr>
              <a:t>  ОСНОВНЫЕ ТЕМЫ ТЕОРИИ</a:t>
            </a:r>
            <a:endParaRPr lang="ru-RU" sz="3600" b="1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64" name="Прямоугольник 63"/>
          <p:cNvSpPr/>
          <p:nvPr/>
        </p:nvSpPr>
        <p:spPr bwMode="auto">
          <a:xfrm>
            <a:off x="476366" y="5182853"/>
            <a:ext cx="9730507" cy="8597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7" indent="-285757" defTabSz="360009">
              <a:lnSpc>
                <a:spcPct val="90000"/>
              </a:lnSpc>
              <a:spcBef>
                <a:spcPts val="800"/>
              </a:spcBef>
              <a:buFont typeface="Arial"/>
              <a:buChar char="•"/>
              <a:defRPr/>
            </a:pPr>
            <a:r>
              <a:rPr lang="ru-RU" sz="1200" b="1">
                <a:latin typeface="Proxima Nova Rg"/>
                <a:ea typeface="Microsoft JhengHei Light"/>
              </a:rPr>
              <a:t>РАЗИТИЕ СЕЛЬСКОГО И АГРОТУРИЗМА В РЕГИОНЕ:</a:t>
            </a:r>
            <a:br>
              <a:rPr lang="ru-RU" sz="1200" b="1">
                <a:latin typeface="Proxima Nova Rg"/>
                <a:ea typeface="Microsoft JhengHei Light"/>
              </a:rPr>
            </a:br>
            <a:r>
              <a:rPr lang="ru-RU" sz="1200">
                <a:latin typeface="Proxima Nova Rg"/>
                <a:ea typeface="Microsoft JhengHei Light"/>
              </a:rPr>
              <a:t>диверсификация доходов МФХ и как инструмент реализации продукции</a:t>
            </a:r>
            <a:endParaRPr/>
          </a:p>
          <a:p>
            <a:pPr marL="285757" indent="-285757" defTabSz="360009">
              <a:lnSpc>
                <a:spcPct val="90000"/>
              </a:lnSpc>
              <a:spcBef>
                <a:spcPts val="800"/>
              </a:spcBef>
              <a:buFont typeface="Arial"/>
              <a:buChar char="•"/>
              <a:defRPr/>
            </a:pPr>
            <a:r>
              <a:rPr lang="ru-RU" sz="1200" b="1">
                <a:latin typeface="Proxima Nova Rg"/>
                <a:ea typeface="Microsoft JhengHei Light"/>
              </a:rPr>
              <a:t>ПРОИЗВОДСТВО ОРГАНИЧЕСКОЙ ПРОДУКЦИИ</a:t>
            </a:r>
            <a:br>
              <a:rPr lang="ru-RU" sz="1200" b="1">
                <a:latin typeface="Proxima Nova Rg"/>
                <a:ea typeface="Microsoft JhengHei Light"/>
              </a:rPr>
            </a:br>
            <a:r>
              <a:rPr lang="ru-RU" sz="1200">
                <a:latin typeface="Proxima Nova Rg"/>
                <a:ea typeface="Microsoft JhengHei Light"/>
              </a:rPr>
              <a:t>– соответствие требованиям, сертификация, технология и ресурсная база </a:t>
            </a:r>
            <a:endParaRPr/>
          </a:p>
        </p:txBody>
      </p:sp>
      <p:sp>
        <p:nvSpPr>
          <p:cNvPr id="14" name="Прямоугольник 13"/>
          <p:cNvSpPr/>
          <p:nvPr/>
        </p:nvSpPr>
        <p:spPr bwMode="auto">
          <a:xfrm>
            <a:off x="475608" y="2311399"/>
            <a:ext cx="15027028" cy="2133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7" indent="-285757" defTabSz="360009">
              <a:lnSpc>
                <a:spcPct val="90000"/>
              </a:lnSpc>
              <a:spcBef>
                <a:spcPts val="800"/>
              </a:spcBef>
              <a:buFont typeface="Arial"/>
              <a:buChar char="•"/>
              <a:defRPr/>
            </a:pPr>
            <a:r>
              <a:rPr lang="ru-RU" sz="1200" b="1">
                <a:solidFill>
                  <a:srgbClr val="000000"/>
                </a:solidFill>
                <a:latin typeface="Proxima Nova Rg"/>
                <a:ea typeface="Microsoft JhengHei Light"/>
              </a:rPr>
              <a:t>МЕРЫ ГОСУДАРСТВЕННОЙ ПОДДЕРЖКИ</a:t>
            </a:r>
            <a:br>
              <a:rPr lang="ru-RU" sz="1200" b="1">
                <a:solidFill>
                  <a:srgbClr val="000000"/>
                </a:solidFill>
                <a:latin typeface="Proxima Nova Rg"/>
                <a:ea typeface="Microsoft JhengHei Light"/>
              </a:rPr>
            </a:br>
            <a: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  <a:t>федерального и регионального уровня</a:t>
            </a:r>
            <a:endParaRPr/>
          </a:p>
          <a:p>
            <a:pPr marL="285757" indent="-285757" defTabSz="360009">
              <a:lnSpc>
                <a:spcPct val="90000"/>
              </a:lnSpc>
              <a:spcBef>
                <a:spcPts val="800"/>
              </a:spcBef>
              <a:buFont typeface="Arial"/>
              <a:buChar char="•"/>
              <a:defRPr/>
            </a:pPr>
            <a: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  <a:t>Доступные </a:t>
            </a:r>
            <a:r>
              <a:rPr lang="ru-RU" sz="1200" b="1">
                <a:solidFill>
                  <a:srgbClr val="000000"/>
                </a:solidFill>
                <a:latin typeface="Proxima Nova Rg"/>
                <a:ea typeface="Microsoft JhengHei Light"/>
              </a:rPr>
              <a:t>ФИНАНСОВЫЕ СЕРВИСЫ </a:t>
            </a:r>
            <a: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  <a:t>в сфере АПК</a:t>
            </a:r>
            <a:endParaRPr/>
          </a:p>
          <a:p>
            <a:pPr marL="285757" indent="-285757" defTabSz="360009">
              <a:lnSpc>
                <a:spcPct val="90000"/>
              </a:lnSpc>
              <a:spcBef>
                <a:spcPts val="800"/>
              </a:spcBef>
              <a:buFont typeface="Arial"/>
              <a:buChar char="•"/>
              <a:defRPr/>
            </a:pPr>
            <a:r>
              <a:rPr lang="ru-RU" sz="1200" b="1">
                <a:solidFill>
                  <a:srgbClr val="000000"/>
                </a:solidFill>
                <a:latin typeface="Proxima Nova Rg"/>
                <a:ea typeface="Microsoft JhengHei Light"/>
              </a:rPr>
              <a:t>НЕФИНАНСОВЫЕ СЕРВИСЫ </a:t>
            </a:r>
            <a: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  <a:t>в сфере АПК</a:t>
            </a:r>
            <a:b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</a:br>
            <a: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  <a:t>(бухгалтерский учет, юридическая поддержка, подбор персонала и т.д.)</a:t>
            </a:r>
            <a:endParaRPr/>
          </a:p>
          <a:p>
            <a:pPr marL="285757" indent="-285757" defTabSz="360009">
              <a:lnSpc>
                <a:spcPct val="90000"/>
              </a:lnSpc>
              <a:spcBef>
                <a:spcPts val="800"/>
              </a:spcBef>
              <a:buFont typeface="Arial"/>
              <a:buChar char="•"/>
              <a:defRPr/>
            </a:pPr>
            <a:r>
              <a:rPr lang="ru-RU" sz="1200" b="1">
                <a:solidFill>
                  <a:srgbClr val="000000"/>
                </a:solidFill>
                <a:latin typeface="Proxima Nova Rg"/>
                <a:ea typeface="Microsoft JhengHei Light"/>
              </a:rPr>
              <a:t>ПРАВОВЫЕ ОСНОВЫ</a:t>
            </a:r>
            <a: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  <a:t> и </a:t>
            </a:r>
            <a:r>
              <a:rPr lang="ru-RU" sz="1200" b="1">
                <a:solidFill>
                  <a:srgbClr val="000000"/>
                </a:solidFill>
                <a:latin typeface="Proxima Nova Rg"/>
                <a:ea typeface="Microsoft JhengHei Light"/>
              </a:rPr>
              <a:t>БУХГАЛЕРСКИЙ УЧЕТ</a:t>
            </a:r>
            <a: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  <a:t> крестьянско-фермерских хозяйств,</a:t>
            </a:r>
            <a:b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</a:br>
            <a: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  <a:t>сельскохозяйственных потребительских кооперативов</a:t>
            </a:r>
            <a:endParaRPr/>
          </a:p>
          <a:p>
            <a:pPr marL="285757" indent="-285757" defTabSz="360009">
              <a:lnSpc>
                <a:spcPct val="90000"/>
              </a:lnSpc>
              <a:spcBef>
                <a:spcPts val="800"/>
              </a:spcBef>
              <a:buFont typeface="Arial"/>
              <a:buChar char="•"/>
              <a:defRPr/>
            </a:pPr>
            <a: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  <a:t>Создание </a:t>
            </a:r>
            <a:r>
              <a:rPr lang="ru-RU" sz="1200" b="1">
                <a:solidFill>
                  <a:srgbClr val="000000"/>
                </a:solidFill>
                <a:latin typeface="Proxima Nova Rg"/>
                <a:ea typeface="Microsoft JhengHei Light"/>
              </a:rPr>
              <a:t>РЕГИОНАЛЬНОГО БРЕНДА</a:t>
            </a:r>
            <a: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  <a:t>, каналы продвижения, выход на экспорт</a:t>
            </a:r>
            <a:endParaRPr/>
          </a:p>
          <a:p>
            <a:pPr marL="285757" indent="-285757" defTabSz="360009">
              <a:lnSpc>
                <a:spcPct val="90000"/>
              </a:lnSpc>
              <a:spcBef>
                <a:spcPts val="800"/>
              </a:spcBef>
              <a:buFont typeface="Arial"/>
              <a:buChar char="•"/>
              <a:defRPr/>
            </a:pPr>
            <a: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  <a:t>Использование </a:t>
            </a:r>
            <a:r>
              <a:rPr lang="ru-RU" sz="1200" b="1">
                <a:solidFill>
                  <a:srgbClr val="000000"/>
                </a:solidFill>
                <a:latin typeface="Proxima Nova Rg"/>
                <a:ea typeface="Microsoft JhengHei Light"/>
              </a:rPr>
              <a:t>ГАЗОМОТОРНОГО ТОПЛИВА</a:t>
            </a:r>
            <a:br>
              <a:rPr lang="ru-RU" sz="1200" b="1">
                <a:solidFill>
                  <a:srgbClr val="000000"/>
                </a:solidFill>
                <a:latin typeface="Proxima Nova Rg"/>
                <a:ea typeface="Microsoft JhengHei Light"/>
              </a:rPr>
            </a:br>
            <a: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  <a:t>- </a:t>
            </a:r>
            <a:r>
              <a:rPr lang="ru-RU" sz="1200">
                <a:solidFill>
                  <a:srgbClr val="000000"/>
                </a:solidFill>
                <a:latin typeface="Proxima Nova Rg"/>
              </a:rPr>
              <a:t>экологические и экономические преимуществах для предприятий АПК*</a:t>
            </a:r>
            <a:endParaRPr/>
          </a:p>
          <a:p>
            <a:pPr marL="285757" indent="-285757" defTabSz="360009">
              <a:lnSpc>
                <a:spcPct val="90000"/>
              </a:lnSpc>
              <a:spcBef>
                <a:spcPts val="800"/>
              </a:spcBef>
              <a:buFont typeface="Arial"/>
              <a:buChar char="•"/>
              <a:defRPr/>
            </a:pPr>
            <a:r>
              <a:rPr lang="ru-RU" sz="1200" b="1">
                <a:solidFill>
                  <a:srgbClr val="000000"/>
                </a:solidFill>
                <a:latin typeface="Proxima Nova Rg"/>
                <a:ea typeface="Microsoft JhengHei Light"/>
              </a:rPr>
              <a:t>МАРКЕТИНГ</a:t>
            </a:r>
            <a: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  <a:t/>
            </a:r>
            <a:b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</a:br>
            <a: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  <a:t>– требования к качеству и упаковке, техники формирования бренда, каналы продвижения</a:t>
            </a:r>
            <a:endParaRPr/>
          </a:p>
          <a:p>
            <a:pPr marL="285757" indent="-285757" defTabSz="360009">
              <a:lnSpc>
                <a:spcPct val="90000"/>
              </a:lnSpc>
              <a:spcBef>
                <a:spcPts val="800"/>
              </a:spcBef>
              <a:buFont typeface="Arial"/>
              <a:buChar char="•"/>
              <a:defRPr/>
            </a:pPr>
            <a:r>
              <a:rPr lang="ru-RU" sz="1200" b="1">
                <a:solidFill>
                  <a:srgbClr val="000000"/>
                </a:solidFill>
                <a:latin typeface="Proxima Nova Rg"/>
                <a:ea typeface="Microsoft JhengHei Light"/>
              </a:rPr>
              <a:t>СЕЛЬХОЗКООПЕРАЦИЯ </a:t>
            </a:r>
            <a: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  <a:t>– создание, развитие кооперативов</a:t>
            </a:r>
            <a:endParaRPr/>
          </a:p>
          <a:p>
            <a:pPr marL="285757" indent="-285757" defTabSz="360009">
              <a:lnSpc>
                <a:spcPct val="90000"/>
              </a:lnSpc>
              <a:spcBef>
                <a:spcPts val="800"/>
              </a:spcBef>
              <a:buFont typeface="Arial"/>
              <a:buChar char="•"/>
              <a:defRPr/>
            </a:pPr>
            <a:r>
              <a:rPr lang="ru-RU" sz="1200" b="1">
                <a:solidFill>
                  <a:srgbClr val="000000"/>
                </a:solidFill>
                <a:latin typeface="Proxima Nova Rg"/>
                <a:ea typeface="Microsoft JhengHei Light"/>
              </a:rPr>
              <a:t>ТОВАРОПРОВОДЯЩИЕ СХЕМЫ </a:t>
            </a:r>
            <a: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  <a:t>– организация каналов реализации продукции (офлайн и онлайн)</a:t>
            </a:r>
            <a:endParaRPr/>
          </a:p>
          <a:p>
            <a:pPr marL="285757" indent="-285757" defTabSz="360009">
              <a:lnSpc>
                <a:spcPct val="90000"/>
              </a:lnSpc>
              <a:spcBef>
                <a:spcPts val="800"/>
              </a:spcBef>
              <a:buFont typeface="Arial"/>
              <a:buChar char="•"/>
              <a:defRPr/>
            </a:pPr>
            <a: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  <a:t>Формирование </a:t>
            </a:r>
            <a:r>
              <a:rPr lang="ru-RU" sz="1200" b="1">
                <a:solidFill>
                  <a:srgbClr val="000000"/>
                </a:solidFill>
                <a:latin typeface="Proxima Nova Rg"/>
                <a:ea typeface="Microsoft JhengHei Light"/>
              </a:rPr>
              <a:t>БИЗНЕС-ПЛАН</a:t>
            </a:r>
            <a: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  <a:t>а «С чего всё начинается?»</a:t>
            </a:r>
            <a:endParaRPr/>
          </a:p>
          <a:p>
            <a:pPr marL="285757" indent="-285757" defTabSz="360009">
              <a:lnSpc>
                <a:spcPct val="90000"/>
              </a:lnSpc>
              <a:spcBef>
                <a:spcPts val="800"/>
              </a:spcBef>
              <a:buFont typeface="Arial"/>
              <a:buChar char="•"/>
              <a:defRPr/>
            </a:pPr>
            <a: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  <a:t>Современные </a:t>
            </a:r>
            <a:r>
              <a:rPr lang="ru-RU" sz="1200" b="1">
                <a:solidFill>
                  <a:srgbClr val="000000"/>
                </a:solidFill>
                <a:latin typeface="Proxima Nova Rg"/>
                <a:ea typeface="Microsoft JhengHei Light"/>
              </a:rPr>
              <a:t>ЦИФРОВЫЕ РЕШЕНИЯ ДЛЯ ПРОДВИЖЕНИЯ </a:t>
            </a:r>
            <a:r>
              <a:rPr lang="ru-RU" sz="1200">
                <a:solidFill>
                  <a:srgbClr val="000000"/>
                </a:solidFill>
                <a:latin typeface="Proxima Nova Rg"/>
                <a:ea typeface="Microsoft JhengHei Light"/>
              </a:rPr>
              <a:t>с/х продукции</a:t>
            </a:r>
            <a:endParaRPr/>
          </a:p>
          <a:p>
            <a:pPr algn="ctr">
              <a:defRPr/>
            </a:pPr>
            <a:endParaRPr lang="ru-RU" sz="1200"/>
          </a:p>
        </p:txBody>
      </p:sp>
      <p:sp>
        <p:nvSpPr>
          <p:cNvPr id="80" name="Номер слайда 2"/>
          <p:cNvSpPr>
            <a:spLocks noGrp="1"/>
          </p:cNvSpPr>
          <p:nvPr>
            <p:ph type="sldNum" sz="quarter" idx="12"/>
          </p:nvPr>
        </p:nvSpPr>
        <p:spPr bwMode="auto">
          <a:xfrm>
            <a:off x="9120188" y="6554394"/>
            <a:ext cx="2727006" cy="153888"/>
          </a:xfrm>
        </p:spPr>
        <p:txBody>
          <a:bodyPr/>
          <a:lstStyle/>
          <a:p>
            <a:pPr>
              <a:defRPr/>
            </a:pPr>
            <a:fld id="{DAA9B757-E82C-4C61-B4AC-FDC45BBF87A6}" type="slidenum">
              <a:rPr lang="ru-RU" sz="1100"/>
              <a:t>5</a:t>
            </a:fld>
            <a:endParaRPr lang="ru-RU" sz="110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10361110" y="276377"/>
            <a:ext cx="1536950" cy="44752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64879144" name="Нижний колонтитул 4"/>
          <p:cNvSpPr>
            <a:spLocks noGrp="1"/>
          </p:cNvSpPr>
          <p:nvPr>
            <p:ph type="ftr" sz="quarter" idx="11"/>
          </p:nvPr>
        </p:nvSpPr>
        <p:spPr bwMode="auto">
          <a:xfrm>
            <a:off x="334962" y="6501098"/>
            <a:ext cx="8605836" cy="153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000">
                <a:latin typeface="Arial Narrow"/>
              </a:defRPr>
            </a:lvl1pPr>
          </a:lstStyle>
          <a:p>
            <a:pPr>
              <a:defRPr/>
            </a:pPr>
            <a:r>
              <a:rPr lang="ru-RU"/>
              <a:t>Тема презентации</a:t>
            </a:r>
          </a:p>
        </p:txBody>
      </p:sp>
      <p:sp>
        <p:nvSpPr>
          <p:cNvPr id="2062566564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9120187" y="6501098"/>
            <a:ext cx="2727005" cy="153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000">
                <a:latin typeface="Arial Narrow"/>
              </a:defRPr>
            </a:lvl1pPr>
          </a:lstStyle>
          <a:p>
            <a:pPr>
              <a:defRPr/>
            </a:pPr>
            <a:fld id="{01B8F5DE-9AC6-6FD6-F838-641B2015EBD5}" type="slidenum">
              <a:rPr lang="ru-RU"/>
              <a:t>6</a:t>
            </a:fld>
            <a:endParaRPr lang="ru-RU"/>
          </a:p>
        </p:txBody>
      </p:sp>
      <p:sp>
        <p:nvSpPr>
          <p:cNvPr id="475948344" name="Title 1"/>
          <p:cNvSpPr>
            <a:spLocks noGrp="1"/>
          </p:cNvSpPr>
          <p:nvPr>
            <p:ph type="title"/>
          </p:nvPr>
        </p:nvSpPr>
        <p:spPr bwMode="auto">
          <a:xfrm>
            <a:off x="334962" y="509198"/>
            <a:ext cx="11522073" cy="3988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2400" b="1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206907507" name="Скругленный прямоугольник 107"/>
          <p:cNvSpPr/>
          <p:nvPr/>
        </p:nvSpPr>
        <p:spPr bwMode="auto">
          <a:xfrm>
            <a:off x="9282285" y="1582853"/>
            <a:ext cx="2210446" cy="2102956"/>
          </a:xfrm>
          <a:prstGeom prst="roundRect">
            <a:avLst>
              <a:gd name="adj" fmla="val 7709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628010502" name="Скругленный прямоугольник 102"/>
          <p:cNvSpPr/>
          <p:nvPr/>
        </p:nvSpPr>
        <p:spPr bwMode="auto">
          <a:xfrm>
            <a:off x="6080394" y="1582853"/>
            <a:ext cx="2556237" cy="2128878"/>
          </a:xfrm>
          <a:prstGeom prst="roundRect">
            <a:avLst>
              <a:gd name="adj" fmla="val 7709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925627224" name="Скругленный прямоугольник 101"/>
          <p:cNvSpPr/>
          <p:nvPr/>
        </p:nvSpPr>
        <p:spPr bwMode="auto">
          <a:xfrm>
            <a:off x="3281446" y="1582853"/>
            <a:ext cx="2210446" cy="2102956"/>
          </a:xfrm>
          <a:prstGeom prst="roundRect">
            <a:avLst>
              <a:gd name="adj" fmla="val 7709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8283769" name="Скругленный прямоугольник 100"/>
          <p:cNvSpPr/>
          <p:nvPr/>
        </p:nvSpPr>
        <p:spPr bwMode="auto">
          <a:xfrm>
            <a:off x="543881" y="1596413"/>
            <a:ext cx="2210446" cy="2102956"/>
          </a:xfrm>
          <a:prstGeom prst="roundRect">
            <a:avLst>
              <a:gd name="adj" fmla="val 7709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92972899" name="Прямоугольник 14"/>
          <p:cNvSpPr/>
          <p:nvPr/>
        </p:nvSpPr>
        <p:spPr bwMode="auto">
          <a:xfrm>
            <a:off x="334962" y="509198"/>
            <a:ext cx="9822475" cy="701399"/>
          </a:xfrm>
          <a:prstGeom prst="rect">
            <a:avLst/>
          </a:prstGeom>
          <a:solidFill>
            <a:srgbClr val="34712A"/>
          </a:solidFill>
        </p:spPr>
        <p:txBody>
          <a:bodyPr wrap="square">
            <a:spAutoFit/>
          </a:bodyPr>
          <a:lstStyle/>
          <a:p>
            <a:pPr marL="261937" indent="-261937">
              <a:defRPr/>
            </a:pPr>
            <a:r>
              <a:rPr lang="ru-RU" sz="4000" b="1">
                <a:solidFill>
                  <a:schemeClr val="bg1"/>
                </a:solidFill>
                <a:latin typeface="Arial"/>
                <a:cs typeface="Arial"/>
              </a:rPr>
              <a:t> СПЕЦИАЛИЗАЦИИ 2020-2024</a:t>
            </a:r>
          </a:p>
        </p:txBody>
      </p:sp>
      <p:graphicFrame>
        <p:nvGraphicFramePr>
          <p:cNvPr id="1262236294" name="Таблица 21"/>
          <p:cNvGraphicFramePr>
            <a:graphicFrameLocks/>
          </p:cNvGraphicFramePr>
          <p:nvPr/>
        </p:nvGraphicFramePr>
        <p:xfrm>
          <a:off x="875784" y="4224459"/>
          <a:ext cx="2485545" cy="167802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18724"/>
                <a:gridCol w="1966821"/>
              </a:tblGrid>
              <a:tr h="670167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ru-RU" sz="1100" b="0" i="0" u="none" strike="noStrike">
                        <a:solidFill>
                          <a:srgbClr val="088054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100" b="0" u="none" strike="noStrike">
                          <a:solidFill>
                            <a:schemeClr val="accent1"/>
                          </a:solidFill>
                          <a:latin typeface="Proxima Nova Rg"/>
                        </a:rPr>
                        <a:t>Агрономия</a:t>
                      </a:r>
                      <a:endParaRPr/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</a:tr>
              <a:tr h="503927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ru-RU" sz="1100" b="0" i="0" u="none" strike="noStrike">
                        <a:solidFill>
                          <a:srgbClr val="088054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100" b="0" u="none" strike="noStrike">
                          <a:solidFill>
                            <a:schemeClr val="accent1"/>
                          </a:solidFill>
                          <a:latin typeface="Proxima Nova Rg"/>
                        </a:rPr>
                        <a:t>Органика</a:t>
                      </a:r>
                      <a:endParaRPr lang="ru-RU" sz="1100" b="0" i="0" u="none" strike="noStrike">
                        <a:solidFill>
                          <a:schemeClr val="accent1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</a:tr>
              <a:tr h="503927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ru-RU" sz="1100" b="0" i="0" u="none" strike="noStrike">
                        <a:solidFill>
                          <a:srgbClr val="088054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100" b="0" i="0" u="none" strike="noStrike">
                          <a:solidFill>
                            <a:schemeClr val="accent1"/>
                          </a:solidFill>
                          <a:latin typeface="Proxima Nova Rg"/>
                        </a:rPr>
                        <a:t>Виноградарство</a:t>
                      </a:r>
                      <a:endParaRPr/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476302682" name="Таблица 22"/>
          <p:cNvGraphicFramePr>
            <a:graphicFrameLocks/>
          </p:cNvGraphicFramePr>
          <p:nvPr/>
        </p:nvGraphicFramePr>
        <p:xfrm>
          <a:off x="6201370" y="1784002"/>
          <a:ext cx="2485544" cy="185574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45740"/>
                <a:gridCol w="1939804"/>
              </a:tblGrid>
              <a:tr h="449034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100" b="0" u="none" strike="noStrike">
                          <a:solidFill>
                            <a:srgbClr val="000000"/>
                          </a:solidFill>
                          <a:latin typeface="Proxima Nova Rg"/>
                        </a:rPr>
                        <a:t>Развитие сельскохозяйственной потребительской кооперации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</a:tr>
              <a:tr h="449034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100" b="0" u="none" strike="noStrike">
                          <a:solidFill>
                            <a:srgbClr val="000000"/>
                          </a:solidFill>
                          <a:latin typeface="Proxima Nova Rg"/>
                        </a:rPr>
                        <a:t>Сельский и агротуризм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</a:tr>
              <a:tr h="449034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Proxima Nova Rg"/>
                        </a:rPr>
                        <a:t>Овцеводство</a:t>
                      </a:r>
                      <a:endParaRPr/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</a:tr>
              <a:tr h="449034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100" b="0" u="none" strike="noStrike">
                          <a:solidFill>
                            <a:srgbClr val="000000"/>
                          </a:solidFill>
                          <a:latin typeface="Proxima Nova Rg"/>
                        </a:rPr>
                        <a:t>Ягодоводство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</a:tr>
            </a:tbl>
          </a:graphicData>
        </a:graphic>
      </p:graphicFrame>
      <p:grpSp>
        <p:nvGrpSpPr>
          <p:cNvPr id="2119601070" name="Group 20"/>
          <p:cNvGrpSpPr>
            <a:grpSpLocks noChangeAspect="1"/>
          </p:cNvGrpSpPr>
          <p:nvPr/>
        </p:nvGrpSpPr>
        <p:grpSpPr bwMode="auto">
          <a:xfrm>
            <a:off x="6324133" y="2784372"/>
            <a:ext cx="294039" cy="233379"/>
            <a:chOff x="2461" y="2301"/>
            <a:chExt cx="675" cy="529"/>
          </a:xfrm>
          <a:solidFill>
            <a:srgbClr val="000000"/>
          </a:solidFill>
        </p:grpSpPr>
        <p:sp>
          <p:nvSpPr>
            <p:cNvPr id="1064454281" name="Freeform 21"/>
            <p:cNvSpPr/>
            <p:nvPr/>
          </p:nvSpPr>
          <p:spPr bwMode="auto">
            <a:xfrm>
              <a:off x="2461" y="2301"/>
              <a:ext cx="515" cy="529"/>
            </a:xfrm>
            <a:custGeom>
              <a:avLst/>
              <a:gdLst>
                <a:gd name="T0" fmla="*/ 0 w 216"/>
                <a:gd name="T1" fmla="*/ 84 h 221"/>
                <a:gd name="T2" fmla="*/ 21 w 216"/>
                <a:gd name="T3" fmla="*/ 66 h 221"/>
                <a:gd name="T4" fmla="*/ 26 w 216"/>
                <a:gd name="T5" fmla="*/ 60 h 221"/>
                <a:gd name="T6" fmla="*/ 46 w 216"/>
                <a:gd name="T7" fmla="*/ 43 h 221"/>
                <a:gd name="T8" fmla="*/ 52 w 216"/>
                <a:gd name="T9" fmla="*/ 37 h 221"/>
                <a:gd name="T10" fmla="*/ 75 w 216"/>
                <a:gd name="T11" fmla="*/ 15 h 221"/>
                <a:gd name="T12" fmla="*/ 93 w 216"/>
                <a:gd name="T13" fmla="*/ 16 h 221"/>
                <a:gd name="T14" fmla="*/ 97 w 216"/>
                <a:gd name="T15" fmla="*/ 15 h 221"/>
                <a:gd name="T16" fmla="*/ 145 w 216"/>
                <a:gd name="T17" fmla="*/ 13 h 221"/>
                <a:gd name="T18" fmla="*/ 150 w 216"/>
                <a:gd name="T19" fmla="*/ 14 h 221"/>
                <a:gd name="T20" fmla="*/ 180 w 216"/>
                <a:gd name="T21" fmla="*/ 20 h 221"/>
                <a:gd name="T22" fmla="*/ 189 w 216"/>
                <a:gd name="T23" fmla="*/ 36 h 221"/>
                <a:gd name="T24" fmla="*/ 192 w 216"/>
                <a:gd name="T25" fmla="*/ 39 h 221"/>
                <a:gd name="T26" fmla="*/ 214 w 216"/>
                <a:gd name="T27" fmla="*/ 53 h 221"/>
                <a:gd name="T28" fmla="*/ 216 w 216"/>
                <a:gd name="T29" fmla="*/ 56 h 221"/>
                <a:gd name="T30" fmla="*/ 215 w 216"/>
                <a:gd name="T31" fmla="*/ 57 h 221"/>
                <a:gd name="T32" fmla="*/ 192 w 216"/>
                <a:gd name="T33" fmla="*/ 96 h 221"/>
                <a:gd name="T34" fmla="*/ 189 w 216"/>
                <a:gd name="T35" fmla="*/ 105 h 221"/>
                <a:gd name="T36" fmla="*/ 182 w 216"/>
                <a:gd name="T37" fmla="*/ 137 h 221"/>
                <a:gd name="T38" fmla="*/ 200 w 216"/>
                <a:gd name="T39" fmla="*/ 154 h 221"/>
                <a:gd name="T40" fmla="*/ 190 w 216"/>
                <a:gd name="T41" fmla="*/ 159 h 221"/>
                <a:gd name="T42" fmla="*/ 187 w 216"/>
                <a:gd name="T43" fmla="*/ 163 h 221"/>
                <a:gd name="T44" fmla="*/ 187 w 216"/>
                <a:gd name="T45" fmla="*/ 210 h 221"/>
                <a:gd name="T46" fmla="*/ 174 w 216"/>
                <a:gd name="T47" fmla="*/ 218 h 221"/>
                <a:gd name="T48" fmla="*/ 169 w 216"/>
                <a:gd name="T49" fmla="*/ 209 h 221"/>
                <a:gd name="T50" fmla="*/ 169 w 216"/>
                <a:gd name="T51" fmla="*/ 175 h 221"/>
                <a:gd name="T52" fmla="*/ 169 w 216"/>
                <a:gd name="T53" fmla="*/ 171 h 221"/>
                <a:gd name="T54" fmla="*/ 165 w 216"/>
                <a:gd name="T55" fmla="*/ 174 h 221"/>
                <a:gd name="T56" fmla="*/ 127 w 216"/>
                <a:gd name="T57" fmla="*/ 176 h 221"/>
                <a:gd name="T58" fmla="*/ 122 w 216"/>
                <a:gd name="T59" fmla="*/ 177 h 221"/>
                <a:gd name="T60" fmla="*/ 82 w 216"/>
                <a:gd name="T61" fmla="*/ 174 h 221"/>
                <a:gd name="T62" fmla="*/ 75 w 216"/>
                <a:gd name="T63" fmla="*/ 166 h 221"/>
                <a:gd name="T64" fmla="*/ 73 w 216"/>
                <a:gd name="T65" fmla="*/ 163 h 221"/>
                <a:gd name="T66" fmla="*/ 73 w 216"/>
                <a:gd name="T67" fmla="*/ 166 h 221"/>
                <a:gd name="T68" fmla="*/ 73 w 216"/>
                <a:gd name="T69" fmla="*/ 209 h 221"/>
                <a:gd name="T70" fmla="*/ 65 w 216"/>
                <a:gd name="T71" fmla="*/ 219 h 221"/>
                <a:gd name="T72" fmla="*/ 55 w 216"/>
                <a:gd name="T73" fmla="*/ 210 h 221"/>
                <a:gd name="T74" fmla="*/ 54 w 216"/>
                <a:gd name="T75" fmla="*/ 179 h 221"/>
                <a:gd name="T76" fmla="*/ 55 w 216"/>
                <a:gd name="T77" fmla="*/ 164 h 221"/>
                <a:gd name="T78" fmla="*/ 52 w 216"/>
                <a:gd name="T79" fmla="*/ 159 h 221"/>
                <a:gd name="T80" fmla="*/ 37 w 216"/>
                <a:gd name="T81" fmla="*/ 140 h 221"/>
                <a:gd name="T82" fmla="*/ 38 w 216"/>
                <a:gd name="T83" fmla="*/ 132 h 221"/>
                <a:gd name="T84" fmla="*/ 35 w 216"/>
                <a:gd name="T85" fmla="*/ 127 h 221"/>
                <a:gd name="T86" fmla="*/ 25 w 216"/>
                <a:gd name="T87" fmla="*/ 119 h 221"/>
                <a:gd name="T88" fmla="*/ 25 w 216"/>
                <a:gd name="T89" fmla="*/ 89 h 221"/>
                <a:gd name="T90" fmla="*/ 27 w 216"/>
                <a:gd name="T91" fmla="*/ 87 h 221"/>
                <a:gd name="T92" fmla="*/ 27 w 216"/>
                <a:gd name="T93" fmla="*/ 79 h 221"/>
                <a:gd name="T94" fmla="*/ 21 w 216"/>
                <a:gd name="T95" fmla="*/ 87 h 221"/>
                <a:gd name="T96" fmla="*/ 14 w 216"/>
                <a:gd name="T97" fmla="*/ 94 h 221"/>
                <a:gd name="T98" fmla="*/ 3 w 216"/>
                <a:gd name="T99" fmla="*/ 92 h 221"/>
                <a:gd name="T100" fmla="*/ 0 w 216"/>
                <a:gd name="T101" fmla="*/ 87 h 221"/>
                <a:gd name="T102" fmla="*/ 0 w 216"/>
                <a:gd name="T103" fmla="*/ 84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6" h="221" extrusionOk="0">
                  <a:moveTo>
                    <a:pt x="0" y="84"/>
                  </a:moveTo>
                  <a:cubicBezTo>
                    <a:pt x="4" y="75"/>
                    <a:pt x="12" y="70"/>
                    <a:pt x="21" y="66"/>
                  </a:cubicBezTo>
                  <a:cubicBezTo>
                    <a:pt x="23" y="65"/>
                    <a:pt x="25" y="63"/>
                    <a:pt x="26" y="60"/>
                  </a:cubicBezTo>
                  <a:cubicBezTo>
                    <a:pt x="29" y="51"/>
                    <a:pt x="37" y="45"/>
                    <a:pt x="46" y="43"/>
                  </a:cubicBezTo>
                  <a:cubicBezTo>
                    <a:pt x="50" y="42"/>
                    <a:pt x="52" y="41"/>
                    <a:pt x="52" y="37"/>
                  </a:cubicBezTo>
                  <a:cubicBezTo>
                    <a:pt x="53" y="26"/>
                    <a:pt x="63" y="17"/>
                    <a:pt x="75" y="15"/>
                  </a:cubicBezTo>
                  <a:cubicBezTo>
                    <a:pt x="81" y="14"/>
                    <a:pt x="87" y="14"/>
                    <a:pt x="93" y="16"/>
                  </a:cubicBezTo>
                  <a:cubicBezTo>
                    <a:pt x="95" y="17"/>
                    <a:pt x="96" y="16"/>
                    <a:pt x="97" y="15"/>
                  </a:cubicBezTo>
                  <a:cubicBezTo>
                    <a:pt x="110" y="1"/>
                    <a:pt x="131" y="0"/>
                    <a:pt x="145" y="13"/>
                  </a:cubicBezTo>
                  <a:cubicBezTo>
                    <a:pt x="147" y="14"/>
                    <a:pt x="148" y="14"/>
                    <a:pt x="150" y="14"/>
                  </a:cubicBezTo>
                  <a:cubicBezTo>
                    <a:pt x="161" y="11"/>
                    <a:pt x="171" y="13"/>
                    <a:pt x="180" y="20"/>
                  </a:cubicBezTo>
                  <a:cubicBezTo>
                    <a:pt x="185" y="24"/>
                    <a:pt x="188" y="30"/>
                    <a:pt x="189" y="36"/>
                  </a:cubicBezTo>
                  <a:cubicBezTo>
                    <a:pt x="189" y="38"/>
                    <a:pt x="190" y="39"/>
                    <a:pt x="192" y="39"/>
                  </a:cubicBezTo>
                  <a:cubicBezTo>
                    <a:pt x="201" y="41"/>
                    <a:pt x="209" y="45"/>
                    <a:pt x="214" y="53"/>
                  </a:cubicBezTo>
                  <a:cubicBezTo>
                    <a:pt x="215" y="54"/>
                    <a:pt x="216" y="55"/>
                    <a:pt x="216" y="56"/>
                  </a:cubicBezTo>
                  <a:cubicBezTo>
                    <a:pt x="216" y="56"/>
                    <a:pt x="215" y="57"/>
                    <a:pt x="215" y="57"/>
                  </a:cubicBezTo>
                  <a:cubicBezTo>
                    <a:pt x="200" y="65"/>
                    <a:pt x="193" y="79"/>
                    <a:pt x="192" y="96"/>
                  </a:cubicBezTo>
                  <a:cubicBezTo>
                    <a:pt x="192" y="99"/>
                    <a:pt x="191" y="102"/>
                    <a:pt x="189" y="105"/>
                  </a:cubicBezTo>
                  <a:cubicBezTo>
                    <a:pt x="183" y="115"/>
                    <a:pt x="180" y="125"/>
                    <a:pt x="182" y="137"/>
                  </a:cubicBezTo>
                  <a:cubicBezTo>
                    <a:pt x="184" y="146"/>
                    <a:pt x="190" y="152"/>
                    <a:pt x="200" y="154"/>
                  </a:cubicBezTo>
                  <a:cubicBezTo>
                    <a:pt x="197" y="156"/>
                    <a:pt x="194" y="157"/>
                    <a:pt x="190" y="159"/>
                  </a:cubicBezTo>
                  <a:cubicBezTo>
                    <a:pt x="188" y="159"/>
                    <a:pt x="187" y="160"/>
                    <a:pt x="187" y="163"/>
                  </a:cubicBezTo>
                  <a:cubicBezTo>
                    <a:pt x="187" y="178"/>
                    <a:pt x="187" y="194"/>
                    <a:pt x="187" y="210"/>
                  </a:cubicBezTo>
                  <a:cubicBezTo>
                    <a:pt x="187" y="217"/>
                    <a:pt x="180" y="221"/>
                    <a:pt x="174" y="218"/>
                  </a:cubicBezTo>
                  <a:cubicBezTo>
                    <a:pt x="171" y="216"/>
                    <a:pt x="169" y="213"/>
                    <a:pt x="169" y="209"/>
                  </a:cubicBezTo>
                  <a:cubicBezTo>
                    <a:pt x="169" y="198"/>
                    <a:pt x="169" y="186"/>
                    <a:pt x="169" y="175"/>
                  </a:cubicBezTo>
                  <a:cubicBezTo>
                    <a:pt x="169" y="174"/>
                    <a:pt x="169" y="173"/>
                    <a:pt x="169" y="171"/>
                  </a:cubicBezTo>
                  <a:cubicBezTo>
                    <a:pt x="168" y="172"/>
                    <a:pt x="167" y="174"/>
                    <a:pt x="165" y="174"/>
                  </a:cubicBezTo>
                  <a:cubicBezTo>
                    <a:pt x="153" y="183"/>
                    <a:pt x="140" y="183"/>
                    <a:pt x="127" y="176"/>
                  </a:cubicBezTo>
                  <a:cubicBezTo>
                    <a:pt x="125" y="175"/>
                    <a:pt x="124" y="175"/>
                    <a:pt x="122" y="177"/>
                  </a:cubicBezTo>
                  <a:cubicBezTo>
                    <a:pt x="109" y="185"/>
                    <a:pt x="92" y="184"/>
                    <a:pt x="82" y="174"/>
                  </a:cubicBezTo>
                  <a:cubicBezTo>
                    <a:pt x="79" y="172"/>
                    <a:pt x="77" y="169"/>
                    <a:pt x="75" y="166"/>
                  </a:cubicBezTo>
                  <a:cubicBezTo>
                    <a:pt x="74" y="165"/>
                    <a:pt x="74" y="164"/>
                    <a:pt x="73" y="163"/>
                  </a:cubicBezTo>
                  <a:cubicBezTo>
                    <a:pt x="73" y="164"/>
                    <a:pt x="73" y="165"/>
                    <a:pt x="73" y="166"/>
                  </a:cubicBezTo>
                  <a:cubicBezTo>
                    <a:pt x="73" y="180"/>
                    <a:pt x="73" y="195"/>
                    <a:pt x="73" y="209"/>
                  </a:cubicBezTo>
                  <a:cubicBezTo>
                    <a:pt x="73" y="214"/>
                    <a:pt x="70" y="218"/>
                    <a:pt x="65" y="219"/>
                  </a:cubicBezTo>
                  <a:cubicBezTo>
                    <a:pt x="59" y="220"/>
                    <a:pt x="55" y="216"/>
                    <a:pt x="55" y="210"/>
                  </a:cubicBezTo>
                  <a:cubicBezTo>
                    <a:pt x="54" y="199"/>
                    <a:pt x="54" y="189"/>
                    <a:pt x="54" y="179"/>
                  </a:cubicBezTo>
                  <a:cubicBezTo>
                    <a:pt x="54" y="174"/>
                    <a:pt x="54" y="169"/>
                    <a:pt x="55" y="164"/>
                  </a:cubicBezTo>
                  <a:cubicBezTo>
                    <a:pt x="55" y="162"/>
                    <a:pt x="54" y="160"/>
                    <a:pt x="52" y="159"/>
                  </a:cubicBezTo>
                  <a:cubicBezTo>
                    <a:pt x="44" y="155"/>
                    <a:pt x="38" y="149"/>
                    <a:pt x="37" y="140"/>
                  </a:cubicBezTo>
                  <a:cubicBezTo>
                    <a:pt x="37" y="137"/>
                    <a:pt x="37" y="134"/>
                    <a:pt x="38" y="132"/>
                  </a:cubicBezTo>
                  <a:cubicBezTo>
                    <a:pt x="38" y="129"/>
                    <a:pt x="37" y="128"/>
                    <a:pt x="35" y="127"/>
                  </a:cubicBezTo>
                  <a:cubicBezTo>
                    <a:pt x="32" y="125"/>
                    <a:pt x="28" y="122"/>
                    <a:pt x="25" y="119"/>
                  </a:cubicBezTo>
                  <a:cubicBezTo>
                    <a:pt x="17" y="111"/>
                    <a:pt x="17" y="98"/>
                    <a:pt x="25" y="89"/>
                  </a:cubicBezTo>
                  <a:cubicBezTo>
                    <a:pt x="26" y="88"/>
                    <a:pt x="26" y="88"/>
                    <a:pt x="27" y="87"/>
                  </a:cubicBezTo>
                  <a:cubicBezTo>
                    <a:pt x="30" y="83"/>
                    <a:pt x="30" y="83"/>
                    <a:pt x="27" y="79"/>
                  </a:cubicBezTo>
                  <a:cubicBezTo>
                    <a:pt x="25" y="81"/>
                    <a:pt x="23" y="84"/>
                    <a:pt x="21" y="87"/>
                  </a:cubicBezTo>
                  <a:cubicBezTo>
                    <a:pt x="18" y="89"/>
                    <a:pt x="16" y="92"/>
                    <a:pt x="14" y="94"/>
                  </a:cubicBezTo>
                  <a:cubicBezTo>
                    <a:pt x="10" y="97"/>
                    <a:pt x="6" y="97"/>
                    <a:pt x="3" y="92"/>
                  </a:cubicBezTo>
                  <a:cubicBezTo>
                    <a:pt x="2" y="90"/>
                    <a:pt x="1" y="89"/>
                    <a:pt x="0" y="87"/>
                  </a:cubicBezTo>
                  <a:cubicBezTo>
                    <a:pt x="0" y="86"/>
                    <a:pt x="0" y="85"/>
                    <a:pt x="0" y="8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66611267" name="Freeform 22"/>
            <p:cNvSpPr/>
            <p:nvPr/>
          </p:nvSpPr>
          <p:spPr bwMode="auto">
            <a:xfrm>
              <a:off x="2917" y="2445"/>
              <a:ext cx="219" cy="210"/>
            </a:xfrm>
            <a:custGeom>
              <a:avLst/>
              <a:gdLst>
                <a:gd name="T0" fmla="*/ 92 w 92"/>
                <a:gd name="T1" fmla="*/ 24 h 88"/>
                <a:gd name="T2" fmla="*/ 87 w 92"/>
                <a:gd name="T3" fmla="*/ 31 h 88"/>
                <a:gd name="T4" fmla="*/ 74 w 92"/>
                <a:gd name="T5" fmla="*/ 30 h 88"/>
                <a:gd name="T6" fmla="*/ 71 w 92"/>
                <a:gd name="T7" fmla="*/ 28 h 88"/>
                <a:gd name="T8" fmla="*/ 74 w 92"/>
                <a:gd name="T9" fmla="*/ 33 h 88"/>
                <a:gd name="T10" fmla="*/ 81 w 92"/>
                <a:gd name="T11" fmla="*/ 60 h 88"/>
                <a:gd name="T12" fmla="*/ 79 w 92"/>
                <a:gd name="T13" fmla="*/ 74 h 88"/>
                <a:gd name="T14" fmla="*/ 59 w 92"/>
                <a:gd name="T15" fmla="*/ 88 h 88"/>
                <a:gd name="T16" fmla="*/ 25 w 92"/>
                <a:gd name="T17" fmla="*/ 72 h 88"/>
                <a:gd name="T18" fmla="*/ 23 w 92"/>
                <a:gd name="T19" fmla="*/ 69 h 88"/>
                <a:gd name="T20" fmla="*/ 22 w 92"/>
                <a:gd name="T21" fmla="*/ 69 h 88"/>
                <a:gd name="T22" fmla="*/ 22 w 92"/>
                <a:gd name="T23" fmla="*/ 71 h 88"/>
                <a:gd name="T24" fmla="*/ 15 w 92"/>
                <a:gd name="T25" fmla="*/ 82 h 88"/>
                <a:gd name="T26" fmla="*/ 3 w 92"/>
                <a:gd name="T27" fmla="*/ 76 h 88"/>
                <a:gd name="T28" fmla="*/ 4 w 92"/>
                <a:gd name="T29" fmla="*/ 57 h 88"/>
                <a:gd name="T30" fmla="*/ 10 w 92"/>
                <a:gd name="T31" fmla="*/ 47 h 88"/>
                <a:gd name="T32" fmla="*/ 12 w 92"/>
                <a:gd name="T33" fmla="*/ 41 h 88"/>
                <a:gd name="T34" fmla="*/ 19 w 92"/>
                <a:gd name="T35" fmla="*/ 15 h 88"/>
                <a:gd name="T36" fmla="*/ 49 w 92"/>
                <a:gd name="T37" fmla="*/ 4 h 88"/>
                <a:gd name="T38" fmla="*/ 53 w 92"/>
                <a:gd name="T39" fmla="*/ 6 h 88"/>
                <a:gd name="T40" fmla="*/ 61 w 92"/>
                <a:gd name="T41" fmla="*/ 8 h 88"/>
                <a:gd name="T42" fmla="*/ 84 w 92"/>
                <a:gd name="T43" fmla="*/ 12 h 88"/>
                <a:gd name="T44" fmla="*/ 92 w 92"/>
                <a:gd name="T45" fmla="*/ 21 h 88"/>
                <a:gd name="T46" fmla="*/ 92 w 92"/>
                <a:gd name="T47" fmla="*/ 2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2" h="88" extrusionOk="0">
                  <a:moveTo>
                    <a:pt x="92" y="24"/>
                  </a:moveTo>
                  <a:cubicBezTo>
                    <a:pt x="90" y="26"/>
                    <a:pt x="89" y="29"/>
                    <a:pt x="87" y="31"/>
                  </a:cubicBezTo>
                  <a:cubicBezTo>
                    <a:pt x="83" y="34"/>
                    <a:pt x="78" y="34"/>
                    <a:pt x="74" y="30"/>
                  </a:cubicBezTo>
                  <a:cubicBezTo>
                    <a:pt x="73" y="29"/>
                    <a:pt x="72" y="28"/>
                    <a:pt x="71" y="28"/>
                  </a:cubicBezTo>
                  <a:cubicBezTo>
                    <a:pt x="72" y="30"/>
                    <a:pt x="73" y="31"/>
                    <a:pt x="74" y="33"/>
                  </a:cubicBezTo>
                  <a:cubicBezTo>
                    <a:pt x="78" y="42"/>
                    <a:pt x="80" y="51"/>
                    <a:pt x="81" y="60"/>
                  </a:cubicBezTo>
                  <a:cubicBezTo>
                    <a:pt x="81" y="65"/>
                    <a:pt x="80" y="69"/>
                    <a:pt x="79" y="74"/>
                  </a:cubicBezTo>
                  <a:cubicBezTo>
                    <a:pt x="77" y="82"/>
                    <a:pt x="69" y="87"/>
                    <a:pt x="59" y="88"/>
                  </a:cubicBezTo>
                  <a:cubicBezTo>
                    <a:pt x="45" y="88"/>
                    <a:pt x="34" y="82"/>
                    <a:pt x="25" y="72"/>
                  </a:cubicBezTo>
                  <a:cubicBezTo>
                    <a:pt x="24" y="71"/>
                    <a:pt x="24" y="70"/>
                    <a:pt x="23" y="69"/>
                  </a:cubicBezTo>
                  <a:cubicBezTo>
                    <a:pt x="23" y="69"/>
                    <a:pt x="22" y="69"/>
                    <a:pt x="22" y="69"/>
                  </a:cubicBezTo>
                  <a:cubicBezTo>
                    <a:pt x="22" y="70"/>
                    <a:pt x="22" y="70"/>
                    <a:pt x="22" y="71"/>
                  </a:cubicBezTo>
                  <a:cubicBezTo>
                    <a:pt x="23" y="77"/>
                    <a:pt x="20" y="81"/>
                    <a:pt x="15" y="82"/>
                  </a:cubicBezTo>
                  <a:cubicBezTo>
                    <a:pt x="9" y="84"/>
                    <a:pt x="4" y="82"/>
                    <a:pt x="3" y="76"/>
                  </a:cubicBezTo>
                  <a:cubicBezTo>
                    <a:pt x="0" y="70"/>
                    <a:pt x="1" y="63"/>
                    <a:pt x="4" y="57"/>
                  </a:cubicBezTo>
                  <a:cubicBezTo>
                    <a:pt x="6" y="54"/>
                    <a:pt x="8" y="50"/>
                    <a:pt x="10" y="47"/>
                  </a:cubicBezTo>
                  <a:cubicBezTo>
                    <a:pt x="12" y="45"/>
                    <a:pt x="13" y="43"/>
                    <a:pt x="12" y="41"/>
                  </a:cubicBezTo>
                  <a:cubicBezTo>
                    <a:pt x="11" y="31"/>
                    <a:pt x="13" y="22"/>
                    <a:pt x="19" y="15"/>
                  </a:cubicBezTo>
                  <a:cubicBezTo>
                    <a:pt x="25" y="7"/>
                    <a:pt x="38" y="0"/>
                    <a:pt x="49" y="4"/>
                  </a:cubicBezTo>
                  <a:cubicBezTo>
                    <a:pt x="50" y="5"/>
                    <a:pt x="52" y="5"/>
                    <a:pt x="53" y="6"/>
                  </a:cubicBezTo>
                  <a:cubicBezTo>
                    <a:pt x="56" y="8"/>
                    <a:pt x="58" y="8"/>
                    <a:pt x="61" y="8"/>
                  </a:cubicBezTo>
                  <a:cubicBezTo>
                    <a:pt x="69" y="7"/>
                    <a:pt x="77" y="8"/>
                    <a:pt x="84" y="12"/>
                  </a:cubicBezTo>
                  <a:cubicBezTo>
                    <a:pt x="88" y="14"/>
                    <a:pt x="90" y="17"/>
                    <a:pt x="92" y="21"/>
                  </a:cubicBezTo>
                  <a:cubicBezTo>
                    <a:pt x="92" y="22"/>
                    <a:pt x="92" y="23"/>
                    <a:pt x="92" y="2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</p:grpSp>
      <p:grpSp>
        <p:nvGrpSpPr>
          <p:cNvPr id="644225102" name="Group 290"/>
          <p:cNvGrpSpPr/>
          <p:nvPr/>
        </p:nvGrpSpPr>
        <p:grpSpPr bwMode="auto">
          <a:xfrm>
            <a:off x="3590463" y="3257455"/>
            <a:ext cx="271413" cy="272714"/>
            <a:chOff x="386960" y="-67627"/>
            <a:chExt cx="414253" cy="416238"/>
          </a:xfrm>
          <a:solidFill>
            <a:srgbClr val="000000"/>
          </a:solidFill>
        </p:grpSpPr>
        <p:grpSp>
          <p:nvGrpSpPr>
            <p:cNvPr id="330867467" name="Group 291"/>
            <p:cNvGrpSpPr/>
            <p:nvPr/>
          </p:nvGrpSpPr>
          <p:grpSpPr bwMode="auto">
            <a:xfrm>
              <a:off x="399741" y="222152"/>
              <a:ext cx="330183" cy="126457"/>
              <a:chOff x="388438" y="222152"/>
              <a:chExt cx="330183" cy="126457"/>
            </a:xfrm>
            <a:grpFill/>
          </p:grpSpPr>
          <p:sp>
            <p:nvSpPr>
              <p:cNvPr id="592517023" name="Rounded Rectangle 294"/>
              <p:cNvSpPr/>
              <p:nvPr/>
            </p:nvSpPr>
            <p:spPr bwMode="auto">
              <a:xfrm>
                <a:off x="424091" y="274315"/>
                <a:ext cx="258334" cy="74295"/>
              </a:xfrm>
              <a:prstGeom prst="roundRect">
                <a:avLst>
                  <a:gd name="adj" fmla="val 16667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>
                  <a:defRPr/>
                </a:pPr>
                <a:endParaRPr lang="en-US" sz="1000">
                  <a:solidFill>
                    <a:prstClr val="white"/>
                  </a:solidFill>
                </a:endParaRPr>
              </a:p>
            </p:txBody>
          </p:sp>
          <p:sp>
            <p:nvSpPr>
              <p:cNvPr id="311878746" name="Oval 295"/>
              <p:cNvSpPr/>
              <p:nvPr/>
            </p:nvSpPr>
            <p:spPr bwMode="auto">
              <a:xfrm>
                <a:off x="394076" y="257806"/>
                <a:ext cx="66211" cy="6286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>
                  <a:defRPr/>
                </a:pPr>
                <a:endParaRPr lang="en-US" sz="1000">
                  <a:solidFill>
                    <a:prstClr val="white"/>
                  </a:solidFill>
                </a:endParaRPr>
              </a:p>
            </p:txBody>
          </p:sp>
          <p:sp>
            <p:nvSpPr>
              <p:cNvPr id="1153556446" name="Oval 296"/>
              <p:cNvSpPr/>
              <p:nvPr/>
            </p:nvSpPr>
            <p:spPr bwMode="auto">
              <a:xfrm>
                <a:off x="424092" y="234945"/>
                <a:ext cx="66211" cy="6286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>
                  <a:defRPr/>
                </a:pPr>
                <a:endParaRPr lang="en-US" sz="1000">
                  <a:solidFill>
                    <a:prstClr val="white"/>
                  </a:solidFill>
                </a:endParaRPr>
              </a:p>
            </p:txBody>
          </p:sp>
          <p:sp>
            <p:nvSpPr>
              <p:cNvPr id="1753933030" name="Oval 297"/>
              <p:cNvSpPr/>
              <p:nvPr/>
            </p:nvSpPr>
            <p:spPr bwMode="auto">
              <a:xfrm>
                <a:off x="473160" y="228549"/>
                <a:ext cx="66211" cy="6286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>
                  <a:defRPr/>
                </a:pPr>
                <a:endParaRPr lang="en-US" sz="1000">
                  <a:solidFill>
                    <a:prstClr val="white"/>
                  </a:solidFill>
                </a:endParaRPr>
              </a:p>
            </p:txBody>
          </p:sp>
          <p:sp>
            <p:nvSpPr>
              <p:cNvPr id="1212172731" name="Oval 298"/>
              <p:cNvSpPr/>
              <p:nvPr/>
            </p:nvSpPr>
            <p:spPr bwMode="auto">
              <a:xfrm>
                <a:off x="522228" y="222152"/>
                <a:ext cx="66211" cy="6286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>
                  <a:defRPr/>
                </a:pPr>
                <a:endParaRPr lang="en-US" sz="1000">
                  <a:solidFill>
                    <a:prstClr val="white"/>
                  </a:solidFill>
                </a:endParaRPr>
              </a:p>
            </p:txBody>
          </p:sp>
          <p:sp>
            <p:nvSpPr>
              <p:cNvPr id="380689806" name="Oval 299"/>
              <p:cNvSpPr/>
              <p:nvPr/>
            </p:nvSpPr>
            <p:spPr bwMode="auto">
              <a:xfrm>
                <a:off x="569954" y="227547"/>
                <a:ext cx="66211" cy="6286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>
                  <a:defRPr/>
                </a:pPr>
                <a:endParaRPr lang="en-US" sz="1000">
                  <a:solidFill>
                    <a:prstClr val="white"/>
                  </a:solidFill>
                </a:endParaRPr>
              </a:p>
            </p:txBody>
          </p:sp>
          <p:sp>
            <p:nvSpPr>
              <p:cNvPr id="386338283" name="Oval 300"/>
              <p:cNvSpPr/>
              <p:nvPr/>
            </p:nvSpPr>
            <p:spPr bwMode="auto">
              <a:xfrm>
                <a:off x="606974" y="234945"/>
                <a:ext cx="66211" cy="6286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>
                  <a:defRPr/>
                </a:pPr>
                <a:endParaRPr lang="en-US" sz="1000">
                  <a:solidFill>
                    <a:prstClr val="white"/>
                  </a:solidFill>
                </a:endParaRPr>
              </a:p>
            </p:txBody>
          </p:sp>
          <p:sp>
            <p:nvSpPr>
              <p:cNvPr id="813066994" name="Oval 301"/>
              <p:cNvSpPr/>
              <p:nvPr/>
            </p:nvSpPr>
            <p:spPr bwMode="auto">
              <a:xfrm>
                <a:off x="646515" y="253915"/>
                <a:ext cx="66211" cy="6286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>
                  <a:defRPr/>
                </a:pPr>
                <a:endParaRPr lang="en-US" sz="1000">
                  <a:solidFill>
                    <a:prstClr val="white"/>
                  </a:solidFill>
                </a:endParaRPr>
              </a:p>
            </p:txBody>
          </p:sp>
          <p:sp>
            <p:nvSpPr>
              <p:cNvPr id="502090979" name="Oval 302"/>
              <p:cNvSpPr/>
              <p:nvPr/>
            </p:nvSpPr>
            <p:spPr bwMode="auto">
              <a:xfrm>
                <a:off x="652411" y="285745"/>
                <a:ext cx="66211" cy="6286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>
                  <a:defRPr/>
                </a:pPr>
                <a:endParaRPr lang="en-US" sz="1000">
                  <a:solidFill>
                    <a:prstClr val="white"/>
                  </a:solidFill>
                </a:endParaRPr>
              </a:p>
            </p:txBody>
          </p:sp>
          <p:sp>
            <p:nvSpPr>
              <p:cNvPr id="1887773561" name="Oval 303"/>
              <p:cNvSpPr/>
              <p:nvPr/>
            </p:nvSpPr>
            <p:spPr bwMode="auto">
              <a:xfrm>
                <a:off x="388438" y="285745"/>
                <a:ext cx="66211" cy="6286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>
                  <a:defRPr/>
                </a:pPr>
                <a:endParaRPr lang="en-US" sz="1000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1907924100" name="Freeform 292"/>
            <p:cNvSpPr/>
            <p:nvPr/>
          </p:nvSpPr>
          <p:spPr bwMode="auto">
            <a:xfrm>
              <a:off x="386960" y="20993"/>
              <a:ext cx="189010" cy="265511"/>
            </a:xfrm>
            <a:custGeom>
              <a:avLst/>
              <a:gdLst>
                <a:gd name="connsiteX0" fmla="*/ 173227 w 189011"/>
                <a:gd name="connsiteY0" fmla="*/ 264795 h 265512"/>
                <a:gd name="connsiteX1" fmla="*/ 161797 w 189011"/>
                <a:gd name="connsiteY1" fmla="*/ 173355 h 265512"/>
                <a:gd name="connsiteX2" fmla="*/ 140842 w 189011"/>
                <a:gd name="connsiteY2" fmla="*/ 131445 h 265512"/>
                <a:gd name="connsiteX3" fmla="*/ 98932 w 189011"/>
                <a:gd name="connsiteY3" fmla="*/ 125730 h 265512"/>
                <a:gd name="connsiteX4" fmla="*/ 64642 w 189011"/>
                <a:gd name="connsiteY4" fmla="*/ 97155 h 265512"/>
                <a:gd name="connsiteX5" fmla="*/ 26542 w 189011"/>
                <a:gd name="connsiteY5" fmla="*/ 55245 h 265512"/>
                <a:gd name="connsiteX6" fmla="*/ 7492 w 189011"/>
                <a:gd name="connsiteY6" fmla="*/ 11430 h 265512"/>
                <a:gd name="connsiteX7" fmla="*/ 3682 w 189011"/>
                <a:gd name="connsiteY7" fmla="*/ 0 h 265512"/>
                <a:gd name="connsiteX8" fmla="*/ 58927 w 189011"/>
                <a:gd name="connsiteY8" fmla="*/ 11430 h 265512"/>
                <a:gd name="connsiteX9" fmla="*/ 98932 w 189011"/>
                <a:gd name="connsiteY9" fmla="*/ 13335 h 265512"/>
                <a:gd name="connsiteX10" fmla="*/ 137032 w 189011"/>
                <a:gd name="connsiteY10" fmla="*/ 24765 h 265512"/>
                <a:gd name="connsiteX11" fmla="*/ 159892 w 189011"/>
                <a:gd name="connsiteY11" fmla="*/ 64770 h 265512"/>
                <a:gd name="connsiteX12" fmla="*/ 159892 w 189011"/>
                <a:gd name="connsiteY12" fmla="*/ 108585 h 265512"/>
                <a:gd name="connsiteX13" fmla="*/ 157987 w 189011"/>
                <a:gd name="connsiteY13" fmla="*/ 121920 h 265512"/>
                <a:gd name="connsiteX14" fmla="*/ 119887 w 189011"/>
                <a:gd name="connsiteY14" fmla="*/ 81915 h 265512"/>
                <a:gd name="connsiteX15" fmla="*/ 76072 w 189011"/>
                <a:gd name="connsiteY15" fmla="*/ 40005 h 265512"/>
                <a:gd name="connsiteX16" fmla="*/ 43687 w 189011"/>
                <a:gd name="connsiteY16" fmla="*/ 30480 h 265512"/>
                <a:gd name="connsiteX17" fmla="*/ 129412 w 189011"/>
                <a:gd name="connsiteY17" fmla="*/ 106680 h 265512"/>
                <a:gd name="connsiteX18" fmla="*/ 165607 w 189011"/>
                <a:gd name="connsiteY18" fmla="*/ 144780 h 265512"/>
                <a:gd name="connsiteX19" fmla="*/ 188467 w 189011"/>
                <a:gd name="connsiteY19" fmla="*/ 213360 h 265512"/>
                <a:gd name="connsiteX20" fmla="*/ 173227 w 189011"/>
                <a:gd name="connsiteY20" fmla="*/ 264795 h 265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9011" h="265512" extrusionOk="0">
                  <a:moveTo>
                    <a:pt x="173227" y="264795"/>
                  </a:moveTo>
                  <a:cubicBezTo>
                    <a:pt x="168782" y="258127"/>
                    <a:pt x="167195" y="195580"/>
                    <a:pt x="161797" y="173355"/>
                  </a:cubicBezTo>
                  <a:cubicBezTo>
                    <a:pt x="156399" y="151130"/>
                    <a:pt x="151319" y="139382"/>
                    <a:pt x="140842" y="131445"/>
                  </a:cubicBezTo>
                  <a:cubicBezTo>
                    <a:pt x="130365" y="123508"/>
                    <a:pt x="111632" y="131445"/>
                    <a:pt x="98932" y="125730"/>
                  </a:cubicBezTo>
                  <a:cubicBezTo>
                    <a:pt x="86232" y="120015"/>
                    <a:pt x="76707" y="108902"/>
                    <a:pt x="64642" y="97155"/>
                  </a:cubicBezTo>
                  <a:cubicBezTo>
                    <a:pt x="52577" y="85407"/>
                    <a:pt x="36067" y="69532"/>
                    <a:pt x="26542" y="55245"/>
                  </a:cubicBezTo>
                  <a:cubicBezTo>
                    <a:pt x="17017" y="40958"/>
                    <a:pt x="11302" y="20638"/>
                    <a:pt x="7492" y="11430"/>
                  </a:cubicBezTo>
                  <a:cubicBezTo>
                    <a:pt x="3682" y="2222"/>
                    <a:pt x="-4890" y="0"/>
                    <a:pt x="3682" y="0"/>
                  </a:cubicBezTo>
                  <a:cubicBezTo>
                    <a:pt x="12254" y="0"/>
                    <a:pt x="43052" y="9208"/>
                    <a:pt x="58927" y="11430"/>
                  </a:cubicBezTo>
                  <a:cubicBezTo>
                    <a:pt x="74802" y="13652"/>
                    <a:pt x="85914" y="11112"/>
                    <a:pt x="98932" y="13335"/>
                  </a:cubicBezTo>
                  <a:cubicBezTo>
                    <a:pt x="111949" y="15557"/>
                    <a:pt x="126872" y="16193"/>
                    <a:pt x="137032" y="24765"/>
                  </a:cubicBezTo>
                  <a:cubicBezTo>
                    <a:pt x="147192" y="33337"/>
                    <a:pt x="156082" y="50800"/>
                    <a:pt x="159892" y="64770"/>
                  </a:cubicBezTo>
                  <a:cubicBezTo>
                    <a:pt x="163702" y="78740"/>
                    <a:pt x="160209" y="99060"/>
                    <a:pt x="159892" y="108585"/>
                  </a:cubicBezTo>
                  <a:cubicBezTo>
                    <a:pt x="159574" y="118110"/>
                    <a:pt x="164655" y="126365"/>
                    <a:pt x="157987" y="121920"/>
                  </a:cubicBezTo>
                  <a:cubicBezTo>
                    <a:pt x="151319" y="117475"/>
                    <a:pt x="133539" y="95567"/>
                    <a:pt x="119887" y="81915"/>
                  </a:cubicBezTo>
                  <a:cubicBezTo>
                    <a:pt x="106235" y="68263"/>
                    <a:pt x="88772" y="48577"/>
                    <a:pt x="76072" y="40005"/>
                  </a:cubicBezTo>
                  <a:cubicBezTo>
                    <a:pt x="63372" y="31433"/>
                    <a:pt x="34797" y="19367"/>
                    <a:pt x="43687" y="30480"/>
                  </a:cubicBezTo>
                  <a:cubicBezTo>
                    <a:pt x="52577" y="41593"/>
                    <a:pt x="109092" y="87630"/>
                    <a:pt x="129412" y="106680"/>
                  </a:cubicBezTo>
                  <a:cubicBezTo>
                    <a:pt x="149732" y="125730"/>
                    <a:pt x="155764" y="127000"/>
                    <a:pt x="165607" y="144780"/>
                  </a:cubicBezTo>
                  <a:cubicBezTo>
                    <a:pt x="175450" y="162560"/>
                    <a:pt x="184975" y="196850"/>
                    <a:pt x="188467" y="213360"/>
                  </a:cubicBezTo>
                  <a:cubicBezTo>
                    <a:pt x="191960" y="229870"/>
                    <a:pt x="177672" y="271463"/>
                    <a:pt x="173227" y="264795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>
                <a:defRPr/>
              </a:pPr>
              <a:endParaRPr lang="en-US" sz="1000">
                <a:solidFill>
                  <a:prstClr val="white"/>
                </a:solidFill>
              </a:endParaRPr>
            </a:p>
          </p:txBody>
        </p:sp>
        <p:sp>
          <p:nvSpPr>
            <p:cNvPr id="969644045" name="Freeform 293"/>
            <p:cNvSpPr/>
            <p:nvPr/>
          </p:nvSpPr>
          <p:spPr bwMode="auto">
            <a:xfrm flipH="1">
              <a:off x="553695" y="-67627"/>
              <a:ext cx="247519" cy="347701"/>
            </a:xfrm>
            <a:custGeom>
              <a:avLst/>
              <a:gdLst>
                <a:gd name="connsiteX0" fmla="*/ 173227 w 189011"/>
                <a:gd name="connsiteY0" fmla="*/ 264795 h 265512"/>
                <a:gd name="connsiteX1" fmla="*/ 161797 w 189011"/>
                <a:gd name="connsiteY1" fmla="*/ 173355 h 265512"/>
                <a:gd name="connsiteX2" fmla="*/ 140842 w 189011"/>
                <a:gd name="connsiteY2" fmla="*/ 131445 h 265512"/>
                <a:gd name="connsiteX3" fmla="*/ 98932 w 189011"/>
                <a:gd name="connsiteY3" fmla="*/ 125730 h 265512"/>
                <a:gd name="connsiteX4" fmla="*/ 64642 w 189011"/>
                <a:gd name="connsiteY4" fmla="*/ 97155 h 265512"/>
                <a:gd name="connsiteX5" fmla="*/ 26542 w 189011"/>
                <a:gd name="connsiteY5" fmla="*/ 55245 h 265512"/>
                <a:gd name="connsiteX6" fmla="*/ 7492 w 189011"/>
                <a:gd name="connsiteY6" fmla="*/ 11430 h 265512"/>
                <a:gd name="connsiteX7" fmla="*/ 3682 w 189011"/>
                <a:gd name="connsiteY7" fmla="*/ 0 h 265512"/>
                <a:gd name="connsiteX8" fmla="*/ 58927 w 189011"/>
                <a:gd name="connsiteY8" fmla="*/ 11430 h 265512"/>
                <a:gd name="connsiteX9" fmla="*/ 98932 w 189011"/>
                <a:gd name="connsiteY9" fmla="*/ 13335 h 265512"/>
                <a:gd name="connsiteX10" fmla="*/ 137032 w 189011"/>
                <a:gd name="connsiteY10" fmla="*/ 24765 h 265512"/>
                <a:gd name="connsiteX11" fmla="*/ 159892 w 189011"/>
                <a:gd name="connsiteY11" fmla="*/ 64770 h 265512"/>
                <a:gd name="connsiteX12" fmla="*/ 159892 w 189011"/>
                <a:gd name="connsiteY12" fmla="*/ 108585 h 265512"/>
                <a:gd name="connsiteX13" fmla="*/ 157987 w 189011"/>
                <a:gd name="connsiteY13" fmla="*/ 121920 h 265512"/>
                <a:gd name="connsiteX14" fmla="*/ 119887 w 189011"/>
                <a:gd name="connsiteY14" fmla="*/ 81915 h 265512"/>
                <a:gd name="connsiteX15" fmla="*/ 76072 w 189011"/>
                <a:gd name="connsiteY15" fmla="*/ 40005 h 265512"/>
                <a:gd name="connsiteX16" fmla="*/ 43687 w 189011"/>
                <a:gd name="connsiteY16" fmla="*/ 30480 h 265512"/>
                <a:gd name="connsiteX17" fmla="*/ 129412 w 189011"/>
                <a:gd name="connsiteY17" fmla="*/ 106680 h 265512"/>
                <a:gd name="connsiteX18" fmla="*/ 165607 w 189011"/>
                <a:gd name="connsiteY18" fmla="*/ 144780 h 265512"/>
                <a:gd name="connsiteX19" fmla="*/ 188467 w 189011"/>
                <a:gd name="connsiteY19" fmla="*/ 213360 h 265512"/>
                <a:gd name="connsiteX20" fmla="*/ 173227 w 189011"/>
                <a:gd name="connsiteY20" fmla="*/ 264795 h 265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9011" h="265512" extrusionOk="0">
                  <a:moveTo>
                    <a:pt x="173227" y="264795"/>
                  </a:moveTo>
                  <a:cubicBezTo>
                    <a:pt x="168782" y="258127"/>
                    <a:pt x="167195" y="195580"/>
                    <a:pt x="161797" y="173355"/>
                  </a:cubicBezTo>
                  <a:cubicBezTo>
                    <a:pt x="156399" y="151130"/>
                    <a:pt x="151319" y="139382"/>
                    <a:pt x="140842" y="131445"/>
                  </a:cubicBezTo>
                  <a:cubicBezTo>
                    <a:pt x="130365" y="123508"/>
                    <a:pt x="111632" y="131445"/>
                    <a:pt x="98932" y="125730"/>
                  </a:cubicBezTo>
                  <a:cubicBezTo>
                    <a:pt x="86232" y="120015"/>
                    <a:pt x="76707" y="108902"/>
                    <a:pt x="64642" y="97155"/>
                  </a:cubicBezTo>
                  <a:cubicBezTo>
                    <a:pt x="52577" y="85407"/>
                    <a:pt x="36067" y="69532"/>
                    <a:pt x="26542" y="55245"/>
                  </a:cubicBezTo>
                  <a:cubicBezTo>
                    <a:pt x="17017" y="40958"/>
                    <a:pt x="11302" y="20638"/>
                    <a:pt x="7492" y="11430"/>
                  </a:cubicBezTo>
                  <a:cubicBezTo>
                    <a:pt x="3682" y="2222"/>
                    <a:pt x="-4890" y="0"/>
                    <a:pt x="3682" y="0"/>
                  </a:cubicBezTo>
                  <a:cubicBezTo>
                    <a:pt x="12254" y="0"/>
                    <a:pt x="43052" y="9208"/>
                    <a:pt x="58927" y="11430"/>
                  </a:cubicBezTo>
                  <a:cubicBezTo>
                    <a:pt x="74802" y="13652"/>
                    <a:pt x="85914" y="11112"/>
                    <a:pt x="98932" y="13335"/>
                  </a:cubicBezTo>
                  <a:cubicBezTo>
                    <a:pt x="111949" y="15557"/>
                    <a:pt x="126872" y="16193"/>
                    <a:pt x="137032" y="24765"/>
                  </a:cubicBezTo>
                  <a:cubicBezTo>
                    <a:pt x="147192" y="33337"/>
                    <a:pt x="156082" y="50800"/>
                    <a:pt x="159892" y="64770"/>
                  </a:cubicBezTo>
                  <a:cubicBezTo>
                    <a:pt x="163702" y="78740"/>
                    <a:pt x="160209" y="99060"/>
                    <a:pt x="159892" y="108585"/>
                  </a:cubicBezTo>
                  <a:cubicBezTo>
                    <a:pt x="159574" y="118110"/>
                    <a:pt x="164655" y="126365"/>
                    <a:pt x="157987" y="121920"/>
                  </a:cubicBezTo>
                  <a:cubicBezTo>
                    <a:pt x="151319" y="117475"/>
                    <a:pt x="133539" y="95567"/>
                    <a:pt x="119887" y="81915"/>
                  </a:cubicBezTo>
                  <a:cubicBezTo>
                    <a:pt x="106235" y="68263"/>
                    <a:pt x="88772" y="48577"/>
                    <a:pt x="76072" y="40005"/>
                  </a:cubicBezTo>
                  <a:cubicBezTo>
                    <a:pt x="63372" y="31433"/>
                    <a:pt x="34797" y="19367"/>
                    <a:pt x="43687" y="30480"/>
                  </a:cubicBezTo>
                  <a:cubicBezTo>
                    <a:pt x="52577" y="41593"/>
                    <a:pt x="109092" y="87630"/>
                    <a:pt x="129412" y="106680"/>
                  </a:cubicBezTo>
                  <a:cubicBezTo>
                    <a:pt x="149732" y="125730"/>
                    <a:pt x="155764" y="127000"/>
                    <a:pt x="165607" y="144780"/>
                  </a:cubicBezTo>
                  <a:cubicBezTo>
                    <a:pt x="175450" y="162560"/>
                    <a:pt x="184975" y="196850"/>
                    <a:pt x="188467" y="213360"/>
                  </a:cubicBezTo>
                  <a:cubicBezTo>
                    <a:pt x="191960" y="229870"/>
                    <a:pt x="177672" y="271463"/>
                    <a:pt x="173227" y="264795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>
                <a:defRPr/>
              </a:pPr>
              <a:endParaRPr lang="en-US" sz="1000">
                <a:solidFill>
                  <a:prstClr val="white"/>
                </a:solidFill>
              </a:endParaRPr>
            </a:p>
          </p:txBody>
        </p:sp>
      </p:grpSp>
      <p:pic>
        <p:nvPicPr>
          <p:cNvPr id="698582937" name="Рисунок 6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3575975" y="1784002"/>
            <a:ext cx="300387" cy="266058"/>
          </a:xfrm>
          <a:prstGeom prst="rect">
            <a:avLst/>
          </a:prstGeom>
        </p:spPr>
      </p:pic>
      <p:pic>
        <p:nvPicPr>
          <p:cNvPr id="934501368" name="Рисунок 7"/>
          <p:cNvPicPr>
            <a:picLocks noChangeAspect="1"/>
          </p:cNvPicPr>
          <p:nvPr/>
        </p:nvPicPr>
        <p:blipFill>
          <a:blip r:embed="rId3">
            <a:biLevel thresh="75000"/>
          </a:blip>
          <a:srcRect t="9122" b="10641"/>
          <a:stretch/>
        </p:blipFill>
        <p:spPr bwMode="auto">
          <a:xfrm>
            <a:off x="3523767" y="2132411"/>
            <a:ext cx="404803" cy="324802"/>
          </a:xfrm>
          <a:prstGeom prst="rect">
            <a:avLst/>
          </a:prstGeom>
        </p:spPr>
      </p:pic>
      <p:sp>
        <p:nvSpPr>
          <p:cNvPr id="450935520" name="Freeform 62"/>
          <p:cNvSpPr>
            <a:spLocks noEditPoints="1"/>
          </p:cNvSpPr>
          <p:nvPr/>
        </p:nvSpPr>
        <p:spPr bwMode="auto">
          <a:xfrm>
            <a:off x="3585845" y="2906124"/>
            <a:ext cx="280647" cy="297622"/>
          </a:xfrm>
          <a:custGeom>
            <a:avLst/>
            <a:gdLst>
              <a:gd name="T0" fmla="*/ 61 w 179"/>
              <a:gd name="T1" fmla="*/ 0 h 190"/>
              <a:gd name="T2" fmla="*/ 65 w 179"/>
              <a:gd name="T3" fmla="*/ 0 h 190"/>
              <a:gd name="T4" fmla="*/ 93 w 179"/>
              <a:gd name="T5" fmla="*/ 21 h 190"/>
              <a:gd name="T6" fmla="*/ 99 w 179"/>
              <a:gd name="T7" fmla="*/ 33 h 190"/>
              <a:gd name="T8" fmla="*/ 102 w 179"/>
              <a:gd name="T9" fmla="*/ 26 h 190"/>
              <a:gd name="T10" fmla="*/ 134 w 179"/>
              <a:gd name="T11" fmla="*/ 4 h 190"/>
              <a:gd name="T12" fmla="*/ 144 w 179"/>
              <a:gd name="T13" fmla="*/ 15 h 190"/>
              <a:gd name="T14" fmla="*/ 130 w 179"/>
              <a:gd name="T15" fmla="*/ 37 h 190"/>
              <a:gd name="T16" fmla="*/ 124 w 179"/>
              <a:gd name="T17" fmla="*/ 42 h 190"/>
              <a:gd name="T18" fmla="*/ 173 w 179"/>
              <a:gd name="T19" fmla="*/ 76 h 190"/>
              <a:gd name="T20" fmla="*/ 158 w 179"/>
              <a:gd name="T21" fmla="*/ 160 h 190"/>
              <a:gd name="T22" fmla="*/ 127 w 179"/>
              <a:gd name="T23" fmla="*/ 190 h 190"/>
              <a:gd name="T24" fmla="*/ 56 w 179"/>
              <a:gd name="T25" fmla="*/ 190 h 190"/>
              <a:gd name="T26" fmla="*/ 54 w 179"/>
              <a:gd name="T27" fmla="*/ 188 h 190"/>
              <a:gd name="T28" fmla="*/ 19 w 179"/>
              <a:gd name="T29" fmla="*/ 150 h 190"/>
              <a:gd name="T30" fmla="*/ 5 w 179"/>
              <a:gd name="T31" fmla="*/ 80 h 190"/>
              <a:gd name="T32" fmla="*/ 73 w 179"/>
              <a:gd name="T33" fmla="*/ 41 h 190"/>
              <a:gd name="T34" fmla="*/ 84 w 179"/>
              <a:gd name="T35" fmla="*/ 44 h 190"/>
              <a:gd name="T36" fmla="*/ 63 w 179"/>
              <a:gd name="T37" fmla="*/ 18 h 190"/>
              <a:gd name="T38" fmla="*/ 61 w 179"/>
              <a:gd name="T39" fmla="*/ 0 h 190"/>
              <a:gd name="T40" fmla="*/ 56 w 179"/>
              <a:gd name="T41" fmla="*/ 65 h 190"/>
              <a:gd name="T42" fmla="*/ 42 w 179"/>
              <a:gd name="T43" fmla="*/ 56 h 190"/>
              <a:gd name="T44" fmla="*/ 21 w 179"/>
              <a:gd name="T45" fmla="*/ 108 h 190"/>
              <a:gd name="T46" fmla="*/ 31 w 179"/>
              <a:gd name="T47" fmla="*/ 117 h 190"/>
              <a:gd name="T48" fmla="*/ 39 w 179"/>
              <a:gd name="T49" fmla="*/ 104 h 190"/>
              <a:gd name="T50" fmla="*/ 51 w 179"/>
              <a:gd name="T51" fmla="*/ 71 h 190"/>
              <a:gd name="T52" fmla="*/ 56 w 179"/>
              <a:gd name="T53" fmla="*/ 65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79" h="190" extrusionOk="0">
                <a:moveTo>
                  <a:pt x="61" y="0"/>
                </a:moveTo>
                <a:cubicBezTo>
                  <a:pt x="62" y="0"/>
                  <a:pt x="64" y="0"/>
                  <a:pt x="65" y="0"/>
                </a:cubicBezTo>
                <a:cubicBezTo>
                  <a:pt x="76" y="5"/>
                  <a:pt x="86" y="10"/>
                  <a:pt x="93" y="21"/>
                </a:cubicBezTo>
                <a:cubicBezTo>
                  <a:pt x="95" y="24"/>
                  <a:pt x="97" y="28"/>
                  <a:pt x="99" y="33"/>
                </a:cubicBezTo>
                <a:cubicBezTo>
                  <a:pt x="101" y="30"/>
                  <a:pt x="101" y="28"/>
                  <a:pt x="102" y="26"/>
                </a:cubicBezTo>
                <a:cubicBezTo>
                  <a:pt x="109" y="14"/>
                  <a:pt x="120" y="6"/>
                  <a:pt x="134" y="4"/>
                </a:cubicBezTo>
                <a:cubicBezTo>
                  <a:pt x="142" y="3"/>
                  <a:pt x="145" y="7"/>
                  <a:pt x="144" y="15"/>
                </a:cubicBezTo>
                <a:cubicBezTo>
                  <a:pt x="143" y="24"/>
                  <a:pt x="137" y="31"/>
                  <a:pt x="130" y="37"/>
                </a:cubicBezTo>
                <a:cubicBezTo>
                  <a:pt x="128" y="38"/>
                  <a:pt x="126" y="40"/>
                  <a:pt x="124" y="42"/>
                </a:cubicBezTo>
                <a:cubicBezTo>
                  <a:pt x="151" y="40"/>
                  <a:pt x="168" y="51"/>
                  <a:pt x="173" y="76"/>
                </a:cubicBezTo>
                <a:cubicBezTo>
                  <a:pt x="179" y="106"/>
                  <a:pt x="174" y="134"/>
                  <a:pt x="158" y="160"/>
                </a:cubicBezTo>
                <a:cubicBezTo>
                  <a:pt x="150" y="173"/>
                  <a:pt x="138" y="182"/>
                  <a:pt x="127" y="190"/>
                </a:cubicBezTo>
                <a:cubicBezTo>
                  <a:pt x="103" y="190"/>
                  <a:pt x="79" y="190"/>
                  <a:pt x="56" y="190"/>
                </a:cubicBezTo>
                <a:cubicBezTo>
                  <a:pt x="55" y="190"/>
                  <a:pt x="54" y="189"/>
                  <a:pt x="54" y="188"/>
                </a:cubicBezTo>
                <a:cubicBezTo>
                  <a:pt x="39" y="178"/>
                  <a:pt x="28" y="165"/>
                  <a:pt x="19" y="150"/>
                </a:cubicBezTo>
                <a:cubicBezTo>
                  <a:pt x="7" y="128"/>
                  <a:pt x="0" y="106"/>
                  <a:pt x="5" y="80"/>
                </a:cubicBezTo>
                <a:cubicBezTo>
                  <a:pt x="10" y="53"/>
                  <a:pt x="39" y="28"/>
                  <a:pt x="73" y="41"/>
                </a:cubicBezTo>
                <a:cubicBezTo>
                  <a:pt x="76" y="42"/>
                  <a:pt x="79" y="43"/>
                  <a:pt x="84" y="44"/>
                </a:cubicBezTo>
                <a:cubicBezTo>
                  <a:pt x="81" y="31"/>
                  <a:pt x="75" y="23"/>
                  <a:pt x="63" y="18"/>
                </a:cubicBezTo>
                <a:cubicBezTo>
                  <a:pt x="53" y="13"/>
                  <a:pt x="52" y="7"/>
                  <a:pt x="61" y="0"/>
                </a:cubicBezTo>
                <a:close/>
                <a:moveTo>
                  <a:pt x="56" y="65"/>
                </a:moveTo>
                <a:cubicBezTo>
                  <a:pt x="56" y="56"/>
                  <a:pt x="49" y="52"/>
                  <a:pt x="42" y="56"/>
                </a:cubicBezTo>
                <a:cubicBezTo>
                  <a:pt x="24" y="66"/>
                  <a:pt x="15" y="88"/>
                  <a:pt x="21" y="108"/>
                </a:cubicBezTo>
                <a:cubicBezTo>
                  <a:pt x="23" y="114"/>
                  <a:pt x="27" y="117"/>
                  <a:pt x="31" y="117"/>
                </a:cubicBezTo>
                <a:cubicBezTo>
                  <a:pt x="37" y="115"/>
                  <a:pt x="40" y="110"/>
                  <a:pt x="39" y="104"/>
                </a:cubicBezTo>
                <a:cubicBezTo>
                  <a:pt x="35" y="90"/>
                  <a:pt x="40" y="80"/>
                  <a:pt x="51" y="71"/>
                </a:cubicBezTo>
                <a:cubicBezTo>
                  <a:pt x="54" y="70"/>
                  <a:pt x="55" y="66"/>
                  <a:pt x="56" y="65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89610" tIns="44805" rIns="89610" bIns="4480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pic>
        <p:nvPicPr>
          <p:cNvPr id="18392257" name="Picture 6" descr="http://cdn.onlinewebfonts.com/svg/download_58975.png"/>
          <p:cNvPicPr>
            <a:picLocks noChangeAspect="1" noChangeArrowheads="1"/>
          </p:cNvPicPr>
          <p:nvPr/>
        </p:nvPicPr>
        <p:blipFill>
          <a:blip r:embed="rId4"/>
          <a:stretch/>
        </p:blipFill>
        <p:spPr bwMode="auto">
          <a:xfrm>
            <a:off x="6261205" y="3091667"/>
            <a:ext cx="395776" cy="411573"/>
          </a:xfrm>
          <a:prstGeom prst="rect">
            <a:avLst/>
          </a:prstGeom>
          <a:noFill/>
        </p:spPr>
      </p:pic>
      <p:grpSp>
        <p:nvGrpSpPr>
          <p:cNvPr id="2008723073" name="Chicken"/>
          <p:cNvGrpSpPr/>
          <p:nvPr/>
        </p:nvGrpSpPr>
        <p:grpSpPr bwMode="auto">
          <a:xfrm flipH="1">
            <a:off x="3576644" y="2505196"/>
            <a:ext cx="299047" cy="339145"/>
            <a:chOff x="2718756" y="1337553"/>
            <a:chExt cx="507962" cy="576063"/>
          </a:xfrm>
          <a:solidFill>
            <a:srgbClr val="000000"/>
          </a:solidFill>
        </p:grpSpPr>
        <p:sp>
          <p:nvSpPr>
            <p:cNvPr id="676657197" name="Freeform 408"/>
            <p:cNvSpPr/>
            <p:nvPr/>
          </p:nvSpPr>
          <p:spPr bwMode="auto">
            <a:xfrm>
              <a:off x="2869337" y="1759032"/>
              <a:ext cx="170749" cy="154585"/>
            </a:xfrm>
            <a:custGeom>
              <a:avLst/>
              <a:gdLst>
                <a:gd name="connsiteX0" fmla="*/ 19050 w 1641341"/>
                <a:gd name="connsiteY0" fmla="*/ 1333500 h 1485900"/>
                <a:gd name="connsiteX1" fmla="*/ 57150 w 1641341"/>
                <a:gd name="connsiteY1" fmla="*/ 1308100 h 1485900"/>
                <a:gd name="connsiteX2" fmla="*/ 82550 w 1641341"/>
                <a:gd name="connsiteY2" fmla="*/ 1270000 h 1485900"/>
                <a:gd name="connsiteX3" fmla="*/ 120650 w 1641341"/>
                <a:gd name="connsiteY3" fmla="*/ 1257300 h 1485900"/>
                <a:gd name="connsiteX4" fmla="*/ 158750 w 1641341"/>
                <a:gd name="connsiteY4" fmla="*/ 1231900 h 1485900"/>
                <a:gd name="connsiteX5" fmla="*/ 285750 w 1641341"/>
                <a:gd name="connsiteY5" fmla="*/ 1206500 h 1485900"/>
                <a:gd name="connsiteX6" fmla="*/ 438150 w 1641341"/>
                <a:gd name="connsiteY6" fmla="*/ 1193800 h 1485900"/>
                <a:gd name="connsiteX7" fmla="*/ 666750 w 1641341"/>
                <a:gd name="connsiteY7" fmla="*/ 1168400 h 1485900"/>
                <a:gd name="connsiteX8" fmla="*/ 742950 w 1641341"/>
                <a:gd name="connsiteY8" fmla="*/ 1143000 h 1485900"/>
                <a:gd name="connsiteX9" fmla="*/ 781050 w 1641341"/>
                <a:gd name="connsiteY9" fmla="*/ 1130300 h 1485900"/>
                <a:gd name="connsiteX10" fmla="*/ 895350 w 1641341"/>
                <a:gd name="connsiteY10" fmla="*/ 1054100 h 1485900"/>
                <a:gd name="connsiteX11" fmla="*/ 933450 w 1641341"/>
                <a:gd name="connsiteY11" fmla="*/ 1028700 h 1485900"/>
                <a:gd name="connsiteX12" fmla="*/ 958850 w 1641341"/>
                <a:gd name="connsiteY12" fmla="*/ 952500 h 1485900"/>
                <a:gd name="connsiteX13" fmla="*/ 971550 w 1641341"/>
                <a:gd name="connsiteY13" fmla="*/ 914400 h 1485900"/>
                <a:gd name="connsiteX14" fmla="*/ 996950 w 1641341"/>
                <a:gd name="connsiteY14" fmla="*/ 762000 h 1485900"/>
                <a:gd name="connsiteX15" fmla="*/ 1009650 w 1641341"/>
                <a:gd name="connsiteY15" fmla="*/ 723900 h 1485900"/>
                <a:gd name="connsiteX16" fmla="*/ 1022350 w 1641341"/>
                <a:gd name="connsiteY16" fmla="*/ 660400 h 1485900"/>
                <a:gd name="connsiteX17" fmla="*/ 1047750 w 1641341"/>
                <a:gd name="connsiteY17" fmla="*/ 558800 h 1485900"/>
                <a:gd name="connsiteX18" fmla="*/ 1060450 w 1641341"/>
                <a:gd name="connsiteY18" fmla="*/ 368300 h 1485900"/>
                <a:gd name="connsiteX19" fmla="*/ 1085850 w 1641341"/>
                <a:gd name="connsiteY19" fmla="*/ 254000 h 1485900"/>
                <a:gd name="connsiteX20" fmla="*/ 1098550 w 1641341"/>
                <a:gd name="connsiteY20" fmla="*/ 152400 h 1485900"/>
                <a:gd name="connsiteX21" fmla="*/ 1149350 w 1641341"/>
                <a:gd name="connsiteY21" fmla="*/ 38100 h 1485900"/>
                <a:gd name="connsiteX22" fmla="*/ 1187450 w 1641341"/>
                <a:gd name="connsiteY22" fmla="*/ 12700 h 1485900"/>
                <a:gd name="connsiteX23" fmla="*/ 1263650 w 1641341"/>
                <a:gd name="connsiteY23" fmla="*/ 0 h 1485900"/>
                <a:gd name="connsiteX24" fmla="*/ 1479550 w 1641341"/>
                <a:gd name="connsiteY24" fmla="*/ 12700 h 1485900"/>
                <a:gd name="connsiteX25" fmla="*/ 1517650 w 1641341"/>
                <a:gd name="connsiteY25" fmla="*/ 38100 h 1485900"/>
                <a:gd name="connsiteX26" fmla="*/ 1543050 w 1641341"/>
                <a:gd name="connsiteY26" fmla="*/ 114300 h 1485900"/>
                <a:gd name="connsiteX27" fmla="*/ 1517650 w 1641341"/>
                <a:gd name="connsiteY27" fmla="*/ 152400 h 1485900"/>
                <a:gd name="connsiteX28" fmla="*/ 1479550 w 1641341"/>
                <a:gd name="connsiteY28" fmla="*/ 177800 h 1485900"/>
                <a:gd name="connsiteX29" fmla="*/ 1403350 w 1641341"/>
                <a:gd name="connsiteY29" fmla="*/ 292100 h 1485900"/>
                <a:gd name="connsiteX30" fmla="*/ 1377950 w 1641341"/>
                <a:gd name="connsiteY30" fmla="*/ 368300 h 1485900"/>
                <a:gd name="connsiteX31" fmla="*/ 1327150 w 1641341"/>
                <a:gd name="connsiteY31" fmla="*/ 520700 h 1485900"/>
                <a:gd name="connsiteX32" fmla="*/ 1276350 w 1641341"/>
                <a:gd name="connsiteY32" fmla="*/ 596900 h 1485900"/>
                <a:gd name="connsiteX33" fmla="*/ 1250950 w 1641341"/>
                <a:gd name="connsiteY33" fmla="*/ 673100 h 1485900"/>
                <a:gd name="connsiteX34" fmla="*/ 1187450 w 1641341"/>
                <a:gd name="connsiteY34" fmla="*/ 863600 h 1485900"/>
                <a:gd name="connsiteX35" fmla="*/ 1162050 w 1641341"/>
                <a:gd name="connsiteY35" fmla="*/ 939800 h 1485900"/>
                <a:gd name="connsiteX36" fmla="*/ 1149350 w 1641341"/>
                <a:gd name="connsiteY36" fmla="*/ 977900 h 1485900"/>
                <a:gd name="connsiteX37" fmla="*/ 1162050 w 1641341"/>
                <a:gd name="connsiteY37" fmla="*/ 1041400 h 1485900"/>
                <a:gd name="connsiteX38" fmla="*/ 1301750 w 1641341"/>
                <a:gd name="connsiteY38" fmla="*/ 1079500 h 1485900"/>
                <a:gd name="connsiteX39" fmla="*/ 1377950 w 1641341"/>
                <a:gd name="connsiteY39" fmla="*/ 1130300 h 1485900"/>
                <a:gd name="connsiteX40" fmla="*/ 1454150 w 1641341"/>
                <a:gd name="connsiteY40" fmla="*/ 1168400 h 1485900"/>
                <a:gd name="connsiteX41" fmla="*/ 1492250 w 1641341"/>
                <a:gd name="connsiteY41" fmla="*/ 1193800 h 1485900"/>
                <a:gd name="connsiteX42" fmla="*/ 1593850 w 1641341"/>
                <a:gd name="connsiteY42" fmla="*/ 1219200 h 1485900"/>
                <a:gd name="connsiteX43" fmla="*/ 1492250 w 1641341"/>
                <a:gd name="connsiteY43" fmla="*/ 1270000 h 1485900"/>
                <a:gd name="connsiteX44" fmla="*/ 1149350 w 1641341"/>
                <a:gd name="connsiteY44" fmla="*/ 1282700 h 1485900"/>
                <a:gd name="connsiteX45" fmla="*/ 1085850 w 1641341"/>
                <a:gd name="connsiteY45" fmla="*/ 1295400 h 1485900"/>
                <a:gd name="connsiteX46" fmla="*/ 971550 w 1641341"/>
                <a:gd name="connsiteY46" fmla="*/ 1308100 h 1485900"/>
                <a:gd name="connsiteX47" fmla="*/ 933450 w 1641341"/>
                <a:gd name="connsiteY47" fmla="*/ 1333500 h 1485900"/>
                <a:gd name="connsiteX48" fmla="*/ 908050 w 1641341"/>
                <a:gd name="connsiteY48" fmla="*/ 1371600 h 1485900"/>
                <a:gd name="connsiteX49" fmla="*/ 882650 w 1641341"/>
                <a:gd name="connsiteY49" fmla="*/ 1485900 h 1485900"/>
                <a:gd name="connsiteX50" fmla="*/ 844550 w 1641341"/>
                <a:gd name="connsiteY50" fmla="*/ 1460500 h 1485900"/>
                <a:gd name="connsiteX51" fmla="*/ 793750 w 1641341"/>
                <a:gd name="connsiteY51" fmla="*/ 1282700 h 1485900"/>
                <a:gd name="connsiteX52" fmla="*/ 590550 w 1641341"/>
                <a:gd name="connsiteY52" fmla="*/ 1295400 h 1485900"/>
                <a:gd name="connsiteX53" fmla="*/ 336550 w 1641341"/>
                <a:gd name="connsiteY53" fmla="*/ 1308100 h 1485900"/>
                <a:gd name="connsiteX54" fmla="*/ 209550 w 1641341"/>
                <a:gd name="connsiteY54" fmla="*/ 1320800 h 1485900"/>
                <a:gd name="connsiteX55" fmla="*/ 171450 w 1641341"/>
                <a:gd name="connsiteY55" fmla="*/ 1333500 h 1485900"/>
                <a:gd name="connsiteX56" fmla="*/ 19050 w 1641341"/>
                <a:gd name="connsiteY56" fmla="*/ 1333500 h 148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1641341" h="1485900" extrusionOk="0">
                  <a:moveTo>
                    <a:pt x="19050" y="1333500"/>
                  </a:moveTo>
                  <a:cubicBezTo>
                    <a:pt x="0" y="1329267"/>
                    <a:pt x="46357" y="1318893"/>
                    <a:pt x="57150" y="1308100"/>
                  </a:cubicBezTo>
                  <a:cubicBezTo>
                    <a:pt x="67943" y="1297307"/>
                    <a:pt x="70631" y="1279535"/>
                    <a:pt x="82550" y="1270000"/>
                  </a:cubicBezTo>
                  <a:cubicBezTo>
                    <a:pt x="93003" y="1261637"/>
                    <a:pt x="107950" y="1261533"/>
                    <a:pt x="120650" y="1257300"/>
                  </a:cubicBezTo>
                  <a:cubicBezTo>
                    <a:pt x="133350" y="1248833"/>
                    <a:pt x="145098" y="1238726"/>
                    <a:pt x="158750" y="1231900"/>
                  </a:cubicBezTo>
                  <a:cubicBezTo>
                    <a:pt x="192820" y="1214865"/>
                    <a:pt x="256108" y="1209620"/>
                    <a:pt x="285750" y="1206500"/>
                  </a:cubicBezTo>
                  <a:cubicBezTo>
                    <a:pt x="336446" y="1201164"/>
                    <a:pt x="387427" y="1198872"/>
                    <a:pt x="438150" y="1193800"/>
                  </a:cubicBezTo>
                  <a:cubicBezTo>
                    <a:pt x="514438" y="1186171"/>
                    <a:pt x="666750" y="1168400"/>
                    <a:pt x="666750" y="1168400"/>
                  </a:cubicBezTo>
                  <a:lnTo>
                    <a:pt x="742950" y="1143000"/>
                  </a:lnTo>
                  <a:lnTo>
                    <a:pt x="781050" y="1130300"/>
                  </a:lnTo>
                  <a:lnTo>
                    <a:pt x="895350" y="1054100"/>
                  </a:lnTo>
                  <a:lnTo>
                    <a:pt x="933450" y="1028700"/>
                  </a:lnTo>
                  <a:lnTo>
                    <a:pt x="958850" y="952500"/>
                  </a:lnTo>
                  <a:lnTo>
                    <a:pt x="971550" y="914400"/>
                  </a:lnTo>
                  <a:cubicBezTo>
                    <a:pt x="978718" y="864221"/>
                    <a:pt x="984570" y="811522"/>
                    <a:pt x="996950" y="762000"/>
                  </a:cubicBezTo>
                  <a:cubicBezTo>
                    <a:pt x="1000197" y="749013"/>
                    <a:pt x="1006403" y="736887"/>
                    <a:pt x="1009650" y="723900"/>
                  </a:cubicBezTo>
                  <a:cubicBezTo>
                    <a:pt x="1014885" y="702959"/>
                    <a:pt x="1017496" y="681433"/>
                    <a:pt x="1022350" y="660400"/>
                  </a:cubicBezTo>
                  <a:cubicBezTo>
                    <a:pt x="1030200" y="626385"/>
                    <a:pt x="1047750" y="558800"/>
                    <a:pt x="1047750" y="558800"/>
                  </a:cubicBezTo>
                  <a:cubicBezTo>
                    <a:pt x="1051983" y="495300"/>
                    <a:pt x="1054117" y="431625"/>
                    <a:pt x="1060450" y="368300"/>
                  </a:cubicBezTo>
                  <a:cubicBezTo>
                    <a:pt x="1067509" y="297705"/>
                    <a:pt x="1075244" y="317639"/>
                    <a:pt x="1085850" y="254000"/>
                  </a:cubicBezTo>
                  <a:cubicBezTo>
                    <a:pt x="1091461" y="220334"/>
                    <a:pt x="1091399" y="185773"/>
                    <a:pt x="1098550" y="152400"/>
                  </a:cubicBezTo>
                  <a:cubicBezTo>
                    <a:pt x="1105409" y="120390"/>
                    <a:pt x="1122420" y="65030"/>
                    <a:pt x="1149350" y="38100"/>
                  </a:cubicBezTo>
                  <a:cubicBezTo>
                    <a:pt x="1160143" y="27307"/>
                    <a:pt x="1172970" y="17527"/>
                    <a:pt x="1187450" y="12700"/>
                  </a:cubicBezTo>
                  <a:cubicBezTo>
                    <a:pt x="1211879" y="4557"/>
                    <a:pt x="1238250" y="4233"/>
                    <a:pt x="1263650" y="0"/>
                  </a:cubicBezTo>
                  <a:cubicBezTo>
                    <a:pt x="1335617" y="4233"/>
                    <a:pt x="1408257" y="2006"/>
                    <a:pt x="1479550" y="12700"/>
                  </a:cubicBezTo>
                  <a:cubicBezTo>
                    <a:pt x="1494645" y="14964"/>
                    <a:pt x="1509560" y="25157"/>
                    <a:pt x="1517650" y="38100"/>
                  </a:cubicBezTo>
                  <a:cubicBezTo>
                    <a:pt x="1531840" y="60804"/>
                    <a:pt x="1543050" y="114300"/>
                    <a:pt x="1543050" y="114300"/>
                  </a:cubicBezTo>
                  <a:cubicBezTo>
                    <a:pt x="1534583" y="127000"/>
                    <a:pt x="1528443" y="141607"/>
                    <a:pt x="1517650" y="152400"/>
                  </a:cubicBezTo>
                  <a:cubicBezTo>
                    <a:pt x="1506857" y="163193"/>
                    <a:pt x="1489601" y="166313"/>
                    <a:pt x="1479550" y="177800"/>
                  </a:cubicBezTo>
                  <a:lnTo>
                    <a:pt x="1403350" y="292100"/>
                  </a:lnTo>
                  <a:cubicBezTo>
                    <a:pt x="1388498" y="314377"/>
                    <a:pt x="1386417" y="342900"/>
                    <a:pt x="1377950" y="368300"/>
                  </a:cubicBezTo>
                  <a:lnTo>
                    <a:pt x="1327150" y="520700"/>
                  </a:lnTo>
                  <a:cubicBezTo>
                    <a:pt x="1317497" y="549660"/>
                    <a:pt x="1293283" y="571500"/>
                    <a:pt x="1276350" y="596900"/>
                  </a:cubicBezTo>
                  <a:cubicBezTo>
                    <a:pt x="1261498" y="619177"/>
                    <a:pt x="1259417" y="647700"/>
                    <a:pt x="1250950" y="673100"/>
                  </a:cubicBezTo>
                  <a:lnTo>
                    <a:pt x="1187450" y="863600"/>
                  </a:lnTo>
                  <a:lnTo>
                    <a:pt x="1162050" y="939800"/>
                  </a:lnTo>
                  <a:lnTo>
                    <a:pt x="1149350" y="977900"/>
                  </a:lnTo>
                  <a:cubicBezTo>
                    <a:pt x="1153583" y="999067"/>
                    <a:pt x="1151340" y="1022658"/>
                    <a:pt x="1162050" y="1041400"/>
                  </a:cubicBezTo>
                  <a:cubicBezTo>
                    <a:pt x="1184216" y="1080191"/>
                    <a:pt x="1284134" y="1077298"/>
                    <a:pt x="1301750" y="1079500"/>
                  </a:cubicBezTo>
                  <a:cubicBezTo>
                    <a:pt x="1368707" y="1101819"/>
                    <a:pt x="1314529" y="1077449"/>
                    <a:pt x="1377950" y="1130300"/>
                  </a:cubicBezTo>
                  <a:cubicBezTo>
                    <a:pt x="1410776" y="1157655"/>
                    <a:pt x="1415965" y="1155672"/>
                    <a:pt x="1454150" y="1168400"/>
                  </a:cubicBezTo>
                  <a:cubicBezTo>
                    <a:pt x="1466850" y="1176867"/>
                    <a:pt x="1478598" y="1186974"/>
                    <a:pt x="1492250" y="1193800"/>
                  </a:cubicBezTo>
                  <a:cubicBezTo>
                    <a:pt x="1518285" y="1206817"/>
                    <a:pt x="1569698" y="1214370"/>
                    <a:pt x="1593850" y="1219200"/>
                  </a:cubicBezTo>
                  <a:cubicBezTo>
                    <a:pt x="1641341" y="1290437"/>
                    <a:pt x="1638642" y="1262087"/>
                    <a:pt x="1492250" y="1270000"/>
                  </a:cubicBezTo>
                  <a:cubicBezTo>
                    <a:pt x="1378038" y="1276174"/>
                    <a:pt x="1263650" y="1278467"/>
                    <a:pt x="1149350" y="1282700"/>
                  </a:cubicBezTo>
                  <a:cubicBezTo>
                    <a:pt x="1128183" y="1286933"/>
                    <a:pt x="1107219" y="1292347"/>
                    <a:pt x="1085850" y="1295400"/>
                  </a:cubicBezTo>
                  <a:cubicBezTo>
                    <a:pt x="1047901" y="1300821"/>
                    <a:pt x="1008740" y="1298803"/>
                    <a:pt x="971550" y="1308100"/>
                  </a:cubicBezTo>
                  <a:cubicBezTo>
                    <a:pt x="956742" y="1311802"/>
                    <a:pt x="946150" y="1325033"/>
                    <a:pt x="933450" y="1333500"/>
                  </a:cubicBezTo>
                  <a:cubicBezTo>
                    <a:pt x="924983" y="1346200"/>
                    <a:pt x="914876" y="1357948"/>
                    <a:pt x="908050" y="1371600"/>
                  </a:cubicBezTo>
                  <a:cubicBezTo>
                    <a:pt x="892418" y="1402864"/>
                    <a:pt x="887528" y="1456634"/>
                    <a:pt x="882650" y="1485900"/>
                  </a:cubicBezTo>
                  <a:cubicBezTo>
                    <a:pt x="869950" y="1477433"/>
                    <a:pt x="855343" y="1471293"/>
                    <a:pt x="844550" y="1460500"/>
                  </a:cubicBezTo>
                  <a:cubicBezTo>
                    <a:pt x="798635" y="1414585"/>
                    <a:pt x="804083" y="1339534"/>
                    <a:pt x="793750" y="1282700"/>
                  </a:cubicBezTo>
                  <a:lnTo>
                    <a:pt x="590550" y="1295400"/>
                  </a:lnTo>
                  <a:lnTo>
                    <a:pt x="336550" y="1308100"/>
                  </a:lnTo>
                  <a:cubicBezTo>
                    <a:pt x="294100" y="1310930"/>
                    <a:pt x="251883" y="1316567"/>
                    <a:pt x="209550" y="1320800"/>
                  </a:cubicBezTo>
                  <a:cubicBezTo>
                    <a:pt x="196850" y="1325033"/>
                    <a:pt x="184745" y="1331936"/>
                    <a:pt x="171450" y="1333500"/>
                  </a:cubicBezTo>
                  <a:cubicBezTo>
                    <a:pt x="60936" y="1346502"/>
                    <a:pt x="38100" y="1337733"/>
                    <a:pt x="19050" y="1333500"/>
                  </a:cubicBez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54221544" name="Freeform 409"/>
            <p:cNvSpPr/>
            <p:nvPr/>
          </p:nvSpPr>
          <p:spPr bwMode="auto">
            <a:xfrm>
              <a:off x="2847915" y="1603072"/>
              <a:ext cx="298418" cy="182574"/>
            </a:xfrm>
            <a:custGeom>
              <a:avLst/>
              <a:gdLst>
                <a:gd name="connsiteX0" fmla="*/ 148763 w 2868566"/>
                <a:gd name="connsiteY0" fmla="*/ 876300 h 1754940"/>
                <a:gd name="connsiteX1" fmla="*/ 85263 w 2868566"/>
                <a:gd name="connsiteY1" fmla="*/ 787400 h 1754940"/>
                <a:gd name="connsiteX2" fmla="*/ 59863 w 2868566"/>
                <a:gd name="connsiteY2" fmla="*/ 749300 h 1754940"/>
                <a:gd name="connsiteX3" fmla="*/ 21763 w 2868566"/>
                <a:gd name="connsiteY3" fmla="*/ 673100 h 1754940"/>
                <a:gd name="connsiteX4" fmla="*/ 21763 w 2868566"/>
                <a:gd name="connsiteY4" fmla="*/ 533400 h 1754940"/>
                <a:gd name="connsiteX5" fmla="*/ 47163 w 2868566"/>
                <a:gd name="connsiteY5" fmla="*/ 482600 h 1754940"/>
                <a:gd name="connsiteX6" fmla="*/ 59863 w 2868566"/>
                <a:gd name="connsiteY6" fmla="*/ 444500 h 1754940"/>
                <a:gd name="connsiteX7" fmla="*/ 97963 w 2868566"/>
                <a:gd name="connsiteY7" fmla="*/ 406400 h 1754940"/>
                <a:gd name="connsiteX8" fmla="*/ 199563 w 2868566"/>
                <a:gd name="connsiteY8" fmla="*/ 279400 h 1754940"/>
                <a:gd name="connsiteX9" fmla="*/ 313863 w 2868566"/>
                <a:gd name="connsiteY9" fmla="*/ 203200 h 1754940"/>
                <a:gd name="connsiteX10" fmla="*/ 351963 w 2868566"/>
                <a:gd name="connsiteY10" fmla="*/ 177800 h 1754940"/>
                <a:gd name="connsiteX11" fmla="*/ 466263 w 2868566"/>
                <a:gd name="connsiteY11" fmla="*/ 88900 h 1754940"/>
                <a:gd name="connsiteX12" fmla="*/ 580563 w 2868566"/>
                <a:gd name="connsiteY12" fmla="*/ 63500 h 1754940"/>
                <a:gd name="connsiteX13" fmla="*/ 631363 w 2868566"/>
                <a:gd name="connsiteY13" fmla="*/ 50800 h 1754940"/>
                <a:gd name="connsiteX14" fmla="*/ 720263 w 2868566"/>
                <a:gd name="connsiteY14" fmla="*/ 25400 h 1754940"/>
                <a:gd name="connsiteX15" fmla="*/ 847263 w 2868566"/>
                <a:gd name="connsiteY15" fmla="*/ 12700 h 1754940"/>
                <a:gd name="connsiteX16" fmla="*/ 898063 w 2868566"/>
                <a:gd name="connsiteY16" fmla="*/ 0 h 1754940"/>
                <a:gd name="connsiteX17" fmla="*/ 1240963 w 2868566"/>
                <a:gd name="connsiteY17" fmla="*/ 25400 h 1754940"/>
                <a:gd name="connsiteX18" fmla="*/ 1393363 w 2868566"/>
                <a:gd name="connsiteY18" fmla="*/ 76200 h 1754940"/>
                <a:gd name="connsiteX19" fmla="*/ 1520363 w 2868566"/>
                <a:gd name="connsiteY19" fmla="*/ 101600 h 1754940"/>
                <a:gd name="connsiteX20" fmla="*/ 1660063 w 2868566"/>
                <a:gd name="connsiteY20" fmla="*/ 127000 h 1754940"/>
                <a:gd name="connsiteX21" fmla="*/ 1710863 w 2868566"/>
                <a:gd name="connsiteY21" fmla="*/ 139700 h 1754940"/>
                <a:gd name="connsiteX22" fmla="*/ 1901363 w 2868566"/>
                <a:gd name="connsiteY22" fmla="*/ 152400 h 1754940"/>
                <a:gd name="connsiteX23" fmla="*/ 1964863 w 2868566"/>
                <a:gd name="connsiteY23" fmla="*/ 165100 h 1754940"/>
                <a:gd name="connsiteX24" fmla="*/ 2002963 w 2868566"/>
                <a:gd name="connsiteY24" fmla="*/ 177800 h 1754940"/>
                <a:gd name="connsiteX25" fmla="*/ 2079163 w 2868566"/>
                <a:gd name="connsiteY25" fmla="*/ 190500 h 1754940"/>
                <a:gd name="connsiteX26" fmla="*/ 2244263 w 2868566"/>
                <a:gd name="connsiteY26" fmla="*/ 215900 h 1754940"/>
                <a:gd name="connsiteX27" fmla="*/ 2282363 w 2868566"/>
                <a:gd name="connsiteY27" fmla="*/ 228600 h 1754940"/>
                <a:gd name="connsiteX28" fmla="*/ 2333163 w 2868566"/>
                <a:gd name="connsiteY28" fmla="*/ 254000 h 1754940"/>
                <a:gd name="connsiteX29" fmla="*/ 2396663 w 2868566"/>
                <a:gd name="connsiteY29" fmla="*/ 266700 h 1754940"/>
                <a:gd name="connsiteX30" fmla="*/ 2510963 w 2868566"/>
                <a:gd name="connsiteY30" fmla="*/ 317500 h 1754940"/>
                <a:gd name="connsiteX31" fmla="*/ 2561763 w 2868566"/>
                <a:gd name="connsiteY31" fmla="*/ 330200 h 1754940"/>
                <a:gd name="connsiteX32" fmla="*/ 2612563 w 2868566"/>
                <a:gd name="connsiteY32" fmla="*/ 393700 h 1754940"/>
                <a:gd name="connsiteX33" fmla="*/ 2663363 w 2868566"/>
                <a:gd name="connsiteY33" fmla="*/ 469900 h 1754940"/>
                <a:gd name="connsiteX34" fmla="*/ 2688763 w 2868566"/>
                <a:gd name="connsiteY34" fmla="*/ 508000 h 1754940"/>
                <a:gd name="connsiteX35" fmla="*/ 2726863 w 2868566"/>
                <a:gd name="connsiteY35" fmla="*/ 584200 h 1754940"/>
                <a:gd name="connsiteX36" fmla="*/ 2739563 w 2868566"/>
                <a:gd name="connsiteY36" fmla="*/ 622300 h 1754940"/>
                <a:gd name="connsiteX37" fmla="*/ 2790363 w 2868566"/>
                <a:gd name="connsiteY37" fmla="*/ 698500 h 1754940"/>
                <a:gd name="connsiteX38" fmla="*/ 2841163 w 2868566"/>
                <a:gd name="connsiteY38" fmla="*/ 812800 h 1754940"/>
                <a:gd name="connsiteX39" fmla="*/ 2853863 w 2868566"/>
                <a:gd name="connsiteY39" fmla="*/ 850900 h 1754940"/>
                <a:gd name="connsiteX40" fmla="*/ 2815763 w 2868566"/>
                <a:gd name="connsiteY40" fmla="*/ 1054100 h 1754940"/>
                <a:gd name="connsiteX41" fmla="*/ 2777663 w 2868566"/>
                <a:gd name="connsiteY41" fmla="*/ 1066800 h 1754940"/>
                <a:gd name="connsiteX42" fmla="*/ 2714163 w 2868566"/>
                <a:gd name="connsiteY42" fmla="*/ 1130300 h 1754940"/>
                <a:gd name="connsiteX43" fmla="*/ 2701463 w 2868566"/>
                <a:gd name="connsiteY43" fmla="*/ 1168400 h 1754940"/>
                <a:gd name="connsiteX44" fmla="*/ 2663363 w 2868566"/>
                <a:gd name="connsiteY44" fmla="*/ 1206500 h 1754940"/>
                <a:gd name="connsiteX45" fmla="*/ 2612563 w 2868566"/>
                <a:gd name="connsiteY45" fmla="*/ 1282700 h 1754940"/>
                <a:gd name="connsiteX46" fmla="*/ 2599863 w 2868566"/>
                <a:gd name="connsiteY46" fmla="*/ 1320800 h 1754940"/>
                <a:gd name="connsiteX47" fmla="*/ 2561763 w 2868566"/>
                <a:gd name="connsiteY47" fmla="*/ 1346200 h 1754940"/>
                <a:gd name="connsiteX48" fmla="*/ 2536363 w 2868566"/>
                <a:gd name="connsiteY48" fmla="*/ 1384300 h 1754940"/>
                <a:gd name="connsiteX49" fmla="*/ 2460163 w 2868566"/>
                <a:gd name="connsiteY49" fmla="*/ 1435100 h 1754940"/>
                <a:gd name="connsiteX50" fmla="*/ 2345863 w 2868566"/>
                <a:gd name="connsiteY50" fmla="*/ 1511300 h 1754940"/>
                <a:gd name="connsiteX51" fmla="*/ 2307763 w 2868566"/>
                <a:gd name="connsiteY51" fmla="*/ 1536700 h 1754940"/>
                <a:gd name="connsiteX52" fmla="*/ 2269663 w 2868566"/>
                <a:gd name="connsiteY52" fmla="*/ 1574800 h 1754940"/>
                <a:gd name="connsiteX53" fmla="*/ 2231563 w 2868566"/>
                <a:gd name="connsiteY53" fmla="*/ 1587500 h 1754940"/>
                <a:gd name="connsiteX54" fmla="*/ 2117263 w 2868566"/>
                <a:gd name="connsiteY54" fmla="*/ 1638300 h 1754940"/>
                <a:gd name="connsiteX55" fmla="*/ 2002963 w 2868566"/>
                <a:gd name="connsiteY55" fmla="*/ 1676400 h 1754940"/>
                <a:gd name="connsiteX56" fmla="*/ 1914063 w 2868566"/>
                <a:gd name="connsiteY56" fmla="*/ 1689100 h 1754940"/>
                <a:gd name="connsiteX57" fmla="*/ 1825163 w 2868566"/>
                <a:gd name="connsiteY57" fmla="*/ 1714500 h 1754940"/>
                <a:gd name="connsiteX58" fmla="*/ 1507663 w 2868566"/>
                <a:gd name="connsiteY58" fmla="*/ 1739900 h 1754940"/>
                <a:gd name="connsiteX59" fmla="*/ 1418763 w 2868566"/>
                <a:gd name="connsiteY59" fmla="*/ 1752600 h 1754940"/>
                <a:gd name="connsiteX60" fmla="*/ 1215563 w 2868566"/>
                <a:gd name="connsiteY60" fmla="*/ 1739900 h 1754940"/>
                <a:gd name="connsiteX61" fmla="*/ 1139363 w 2868566"/>
                <a:gd name="connsiteY61" fmla="*/ 1689100 h 1754940"/>
                <a:gd name="connsiteX62" fmla="*/ 1126663 w 2868566"/>
                <a:gd name="connsiteY62" fmla="*/ 1651000 h 1754940"/>
                <a:gd name="connsiteX63" fmla="*/ 1012363 w 2868566"/>
                <a:gd name="connsiteY63" fmla="*/ 1612900 h 1754940"/>
                <a:gd name="connsiteX64" fmla="*/ 974263 w 2868566"/>
                <a:gd name="connsiteY64" fmla="*/ 1600200 h 1754940"/>
                <a:gd name="connsiteX65" fmla="*/ 936163 w 2868566"/>
                <a:gd name="connsiteY65" fmla="*/ 1587500 h 1754940"/>
                <a:gd name="connsiteX66" fmla="*/ 821863 w 2868566"/>
                <a:gd name="connsiteY66" fmla="*/ 1511300 h 1754940"/>
                <a:gd name="connsiteX67" fmla="*/ 783763 w 2868566"/>
                <a:gd name="connsiteY67" fmla="*/ 1485900 h 1754940"/>
                <a:gd name="connsiteX68" fmla="*/ 758363 w 2868566"/>
                <a:gd name="connsiteY68" fmla="*/ 1447800 h 1754940"/>
                <a:gd name="connsiteX69" fmla="*/ 720263 w 2868566"/>
                <a:gd name="connsiteY69" fmla="*/ 1422400 h 1754940"/>
                <a:gd name="connsiteX70" fmla="*/ 707563 w 2868566"/>
                <a:gd name="connsiteY70" fmla="*/ 1384300 h 1754940"/>
                <a:gd name="connsiteX71" fmla="*/ 682163 w 2868566"/>
                <a:gd name="connsiteY71" fmla="*/ 1346200 h 1754940"/>
                <a:gd name="connsiteX72" fmla="*/ 631363 w 2868566"/>
                <a:gd name="connsiteY72" fmla="*/ 1219200 h 1754940"/>
                <a:gd name="connsiteX73" fmla="*/ 605963 w 2868566"/>
                <a:gd name="connsiteY73" fmla="*/ 1181100 h 1754940"/>
                <a:gd name="connsiteX74" fmla="*/ 529763 w 2868566"/>
                <a:gd name="connsiteY74" fmla="*/ 1155700 h 1754940"/>
                <a:gd name="connsiteX75" fmla="*/ 491663 w 2868566"/>
                <a:gd name="connsiteY75" fmla="*/ 1143000 h 1754940"/>
                <a:gd name="connsiteX76" fmla="*/ 453563 w 2868566"/>
                <a:gd name="connsiteY76" fmla="*/ 1104900 h 1754940"/>
                <a:gd name="connsiteX77" fmla="*/ 377363 w 2868566"/>
                <a:gd name="connsiteY77" fmla="*/ 1079500 h 1754940"/>
                <a:gd name="connsiteX78" fmla="*/ 263063 w 2868566"/>
                <a:gd name="connsiteY78" fmla="*/ 1003300 h 1754940"/>
                <a:gd name="connsiteX79" fmla="*/ 224963 w 2868566"/>
                <a:gd name="connsiteY79" fmla="*/ 977900 h 1754940"/>
                <a:gd name="connsiteX80" fmla="*/ 186863 w 2868566"/>
                <a:gd name="connsiteY80" fmla="*/ 952500 h 1754940"/>
                <a:gd name="connsiteX81" fmla="*/ 123363 w 2868566"/>
                <a:gd name="connsiteY81" fmla="*/ 838200 h 1754940"/>
                <a:gd name="connsiteX82" fmla="*/ 85263 w 2868566"/>
                <a:gd name="connsiteY82" fmla="*/ 812800 h 1754940"/>
                <a:gd name="connsiteX83" fmla="*/ 21763 w 2868566"/>
                <a:gd name="connsiteY83" fmla="*/ 723900 h 1754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2868566" h="1754940" extrusionOk="0">
                  <a:moveTo>
                    <a:pt x="148763" y="876300"/>
                  </a:moveTo>
                  <a:cubicBezTo>
                    <a:pt x="88903" y="786510"/>
                    <a:pt x="164027" y="897669"/>
                    <a:pt x="85263" y="787400"/>
                  </a:cubicBezTo>
                  <a:cubicBezTo>
                    <a:pt x="76391" y="774980"/>
                    <a:pt x="66689" y="762952"/>
                    <a:pt x="59863" y="749300"/>
                  </a:cubicBezTo>
                  <a:cubicBezTo>
                    <a:pt x="7283" y="644140"/>
                    <a:pt x="94556" y="782289"/>
                    <a:pt x="21763" y="673100"/>
                  </a:cubicBezTo>
                  <a:cubicBezTo>
                    <a:pt x="5648" y="608642"/>
                    <a:pt x="0" y="613199"/>
                    <a:pt x="21763" y="533400"/>
                  </a:cubicBezTo>
                  <a:cubicBezTo>
                    <a:pt x="26744" y="515135"/>
                    <a:pt x="39705" y="500001"/>
                    <a:pt x="47163" y="482600"/>
                  </a:cubicBezTo>
                  <a:cubicBezTo>
                    <a:pt x="52436" y="470295"/>
                    <a:pt x="52437" y="455639"/>
                    <a:pt x="59863" y="444500"/>
                  </a:cubicBezTo>
                  <a:cubicBezTo>
                    <a:pt x="69826" y="429556"/>
                    <a:pt x="86936" y="420577"/>
                    <a:pt x="97963" y="406400"/>
                  </a:cubicBezTo>
                  <a:cubicBezTo>
                    <a:pt x="152324" y="336508"/>
                    <a:pt x="134805" y="331207"/>
                    <a:pt x="199563" y="279400"/>
                  </a:cubicBezTo>
                  <a:lnTo>
                    <a:pt x="313863" y="203200"/>
                  </a:lnTo>
                  <a:cubicBezTo>
                    <a:pt x="326563" y="194733"/>
                    <a:pt x="341170" y="188593"/>
                    <a:pt x="351963" y="177800"/>
                  </a:cubicBezTo>
                  <a:cubicBezTo>
                    <a:pt x="384837" y="144926"/>
                    <a:pt x="420691" y="104091"/>
                    <a:pt x="466263" y="88900"/>
                  </a:cubicBezTo>
                  <a:cubicBezTo>
                    <a:pt x="540412" y="64184"/>
                    <a:pt x="468807" y="85851"/>
                    <a:pt x="580563" y="63500"/>
                  </a:cubicBezTo>
                  <a:cubicBezTo>
                    <a:pt x="597679" y="60077"/>
                    <a:pt x="614580" y="55595"/>
                    <a:pt x="631363" y="50800"/>
                  </a:cubicBezTo>
                  <a:cubicBezTo>
                    <a:pt x="667549" y="40461"/>
                    <a:pt x="680561" y="31072"/>
                    <a:pt x="720263" y="25400"/>
                  </a:cubicBezTo>
                  <a:cubicBezTo>
                    <a:pt x="762380" y="19383"/>
                    <a:pt x="804930" y="16933"/>
                    <a:pt x="847263" y="12700"/>
                  </a:cubicBezTo>
                  <a:cubicBezTo>
                    <a:pt x="864196" y="8467"/>
                    <a:pt x="880609" y="0"/>
                    <a:pt x="898063" y="0"/>
                  </a:cubicBezTo>
                  <a:cubicBezTo>
                    <a:pt x="1057495" y="0"/>
                    <a:pt x="1108574" y="8851"/>
                    <a:pt x="1240963" y="25400"/>
                  </a:cubicBezTo>
                  <a:cubicBezTo>
                    <a:pt x="1307984" y="52208"/>
                    <a:pt x="1316467" y="58107"/>
                    <a:pt x="1393363" y="76200"/>
                  </a:cubicBezTo>
                  <a:cubicBezTo>
                    <a:pt x="1435387" y="86088"/>
                    <a:pt x="1478480" y="91129"/>
                    <a:pt x="1520363" y="101600"/>
                  </a:cubicBezTo>
                  <a:cubicBezTo>
                    <a:pt x="1635582" y="130405"/>
                    <a:pt x="1493210" y="96663"/>
                    <a:pt x="1660063" y="127000"/>
                  </a:cubicBezTo>
                  <a:cubicBezTo>
                    <a:pt x="1677236" y="130122"/>
                    <a:pt x="1693504" y="137873"/>
                    <a:pt x="1710863" y="139700"/>
                  </a:cubicBezTo>
                  <a:cubicBezTo>
                    <a:pt x="1774154" y="146362"/>
                    <a:pt x="1837863" y="148167"/>
                    <a:pt x="1901363" y="152400"/>
                  </a:cubicBezTo>
                  <a:cubicBezTo>
                    <a:pt x="1922530" y="156633"/>
                    <a:pt x="1943922" y="159865"/>
                    <a:pt x="1964863" y="165100"/>
                  </a:cubicBezTo>
                  <a:cubicBezTo>
                    <a:pt x="1977850" y="168347"/>
                    <a:pt x="1989895" y="174896"/>
                    <a:pt x="2002963" y="177800"/>
                  </a:cubicBezTo>
                  <a:cubicBezTo>
                    <a:pt x="2028100" y="183386"/>
                    <a:pt x="2053828" y="185894"/>
                    <a:pt x="2079163" y="190500"/>
                  </a:cubicBezTo>
                  <a:cubicBezTo>
                    <a:pt x="2207160" y="213772"/>
                    <a:pt x="2072182" y="194390"/>
                    <a:pt x="2244263" y="215900"/>
                  </a:cubicBezTo>
                  <a:cubicBezTo>
                    <a:pt x="2256963" y="220133"/>
                    <a:pt x="2270058" y="223327"/>
                    <a:pt x="2282363" y="228600"/>
                  </a:cubicBezTo>
                  <a:cubicBezTo>
                    <a:pt x="2299764" y="236058"/>
                    <a:pt x="2315202" y="248013"/>
                    <a:pt x="2333163" y="254000"/>
                  </a:cubicBezTo>
                  <a:cubicBezTo>
                    <a:pt x="2353641" y="260826"/>
                    <a:pt x="2375988" y="260497"/>
                    <a:pt x="2396663" y="266700"/>
                  </a:cubicBezTo>
                  <a:cubicBezTo>
                    <a:pt x="2512511" y="301455"/>
                    <a:pt x="2410897" y="279975"/>
                    <a:pt x="2510963" y="317500"/>
                  </a:cubicBezTo>
                  <a:cubicBezTo>
                    <a:pt x="2527306" y="323629"/>
                    <a:pt x="2544830" y="325967"/>
                    <a:pt x="2561763" y="330200"/>
                  </a:cubicBezTo>
                  <a:cubicBezTo>
                    <a:pt x="2632161" y="377132"/>
                    <a:pt x="2576479" y="328748"/>
                    <a:pt x="2612563" y="393700"/>
                  </a:cubicBezTo>
                  <a:cubicBezTo>
                    <a:pt x="2627388" y="420385"/>
                    <a:pt x="2646430" y="444500"/>
                    <a:pt x="2663363" y="469900"/>
                  </a:cubicBezTo>
                  <a:cubicBezTo>
                    <a:pt x="2671830" y="482600"/>
                    <a:pt x="2683936" y="493520"/>
                    <a:pt x="2688763" y="508000"/>
                  </a:cubicBezTo>
                  <a:cubicBezTo>
                    <a:pt x="2720685" y="603765"/>
                    <a:pt x="2677624" y="485723"/>
                    <a:pt x="2726863" y="584200"/>
                  </a:cubicBezTo>
                  <a:cubicBezTo>
                    <a:pt x="2732850" y="596174"/>
                    <a:pt x="2733062" y="610598"/>
                    <a:pt x="2739563" y="622300"/>
                  </a:cubicBezTo>
                  <a:cubicBezTo>
                    <a:pt x="2754388" y="648985"/>
                    <a:pt x="2773430" y="673100"/>
                    <a:pt x="2790363" y="698500"/>
                  </a:cubicBezTo>
                  <a:cubicBezTo>
                    <a:pt x="2830615" y="758877"/>
                    <a:pt x="2810936" y="722120"/>
                    <a:pt x="2841163" y="812800"/>
                  </a:cubicBezTo>
                  <a:lnTo>
                    <a:pt x="2853863" y="850900"/>
                  </a:lnTo>
                  <a:cubicBezTo>
                    <a:pt x="2851615" y="880122"/>
                    <a:pt x="2868566" y="1011858"/>
                    <a:pt x="2815763" y="1054100"/>
                  </a:cubicBezTo>
                  <a:cubicBezTo>
                    <a:pt x="2805310" y="1062463"/>
                    <a:pt x="2790363" y="1062567"/>
                    <a:pt x="2777663" y="1066800"/>
                  </a:cubicBezTo>
                  <a:cubicBezTo>
                    <a:pt x="2739563" y="1092200"/>
                    <a:pt x="2735330" y="1087967"/>
                    <a:pt x="2714163" y="1130300"/>
                  </a:cubicBezTo>
                  <a:cubicBezTo>
                    <a:pt x="2708176" y="1142274"/>
                    <a:pt x="2708889" y="1157261"/>
                    <a:pt x="2701463" y="1168400"/>
                  </a:cubicBezTo>
                  <a:cubicBezTo>
                    <a:pt x="2691500" y="1183344"/>
                    <a:pt x="2674390" y="1192323"/>
                    <a:pt x="2663363" y="1206500"/>
                  </a:cubicBezTo>
                  <a:cubicBezTo>
                    <a:pt x="2644621" y="1230597"/>
                    <a:pt x="2629496" y="1257300"/>
                    <a:pt x="2612563" y="1282700"/>
                  </a:cubicBezTo>
                  <a:cubicBezTo>
                    <a:pt x="2605137" y="1293839"/>
                    <a:pt x="2608226" y="1310347"/>
                    <a:pt x="2599863" y="1320800"/>
                  </a:cubicBezTo>
                  <a:cubicBezTo>
                    <a:pt x="2590328" y="1332719"/>
                    <a:pt x="2574463" y="1337733"/>
                    <a:pt x="2561763" y="1346200"/>
                  </a:cubicBezTo>
                  <a:cubicBezTo>
                    <a:pt x="2553296" y="1358900"/>
                    <a:pt x="2547850" y="1374249"/>
                    <a:pt x="2536363" y="1384300"/>
                  </a:cubicBezTo>
                  <a:cubicBezTo>
                    <a:pt x="2513389" y="1404402"/>
                    <a:pt x="2485563" y="1418167"/>
                    <a:pt x="2460163" y="1435100"/>
                  </a:cubicBezTo>
                  <a:lnTo>
                    <a:pt x="2345863" y="1511300"/>
                  </a:lnTo>
                  <a:cubicBezTo>
                    <a:pt x="2333163" y="1519767"/>
                    <a:pt x="2318556" y="1525907"/>
                    <a:pt x="2307763" y="1536700"/>
                  </a:cubicBezTo>
                  <a:cubicBezTo>
                    <a:pt x="2295063" y="1549400"/>
                    <a:pt x="2284607" y="1564837"/>
                    <a:pt x="2269663" y="1574800"/>
                  </a:cubicBezTo>
                  <a:cubicBezTo>
                    <a:pt x="2258524" y="1582226"/>
                    <a:pt x="2244263" y="1583267"/>
                    <a:pt x="2231563" y="1587500"/>
                  </a:cubicBezTo>
                  <a:cubicBezTo>
                    <a:pt x="2171186" y="1627752"/>
                    <a:pt x="2207943" y="1608073"/>
                    <a:pt x="2117263" y="1638300"/>
                  </a:cubicBezTo>
                  <a:lnTo>
                    <a:pt x="2002963" y="1676400"/>
                  </a:lnTo>
                  <a:cubicBezTo>
                    <a:pt x="1974565" y="1685866"/>
                    <a:pt x="1943696" y="1684867"/>
                    <a:pt x="1914063" y="1689100"/>
                  </a:cubicBezTo>
                  <a:cubicBezTo>
                    <a:pt x="1890592" y="1696924"/>
                    <a:pt x="1848286" y="1712108"/>
                    <a:pt x="1825163" y="1714500"/>
                  </a:cubicBezTo>
                  <a:cubicBezTo>
                    <a:pt x="1719555" y="1725425"/>
                    <a:pt x="1612767" y="1724885"/>
                    <a:pt x="1507663" y="1739900"/>
                  </a:cubicBezTo>
                  <a:lnTo>
                    <a:pt x="1418763" y="1752600"/>
                  </a:lnTo>
                  <a:cubicBezTo>
                    <a:pt x="1351030" y="1748367"/>
                    <a:pt x="1281741" y="1754940"/>
                    <a:pt x="1215563" y="1739900"/>
                  </a:cubicBezTo>
                  <a:cubicBezTo>
                    <a:pt x="1185795" y="1733135"/>
                    <a:pt x="1139363" y="1689100"/>
                    <a:pt x="1139363" y="1689100"/>
                  </a:cubicBezTo>
                  <a:cubicBezTo>
                    <a:pt x="1135130" y="1676400"/>
                    <a:pt x="1137556" y="1658781"/>
                    <a:pt x="1126663" y="1651000"/>
                  </a:cubicBezTo>
                  <a:lnTo>
                    <a:pt x="1012363" y="1612900"/>
                  </a:lnTo>
                  <a:lnTo>
                    <a:pt x="974263" y="1600200"/>
                  </a:lnTo>
                  <a:lnTo>
                    <a:pt x="936163" y="1587500"/>
                  </a:lnTo>
                  <a:lnTo>
                    <a:pt x="821863" y="1511300"/>
                  </a:lnTo>
                  <a:lnTo>
                    <a:pt x="783763" y="1485900"/>
                  </a:lnTo>
                  <a:cubicBezTo>
                    <a:pt x="775296" y="1473200"/>
                    <a:pt x="769156" y="1458593"/>
                    <a:pt x="758363" y="1447800"/>
                  </a:cubicBezTo>
                  <a:cubicBezTo>
                    <a:pt x="747570" y="1437007"/>
                    <a:pt x="729798" y="1434319"/>
                    <a:pt x="720263" y="1422400"/>
                  </a:cubicBezTo>
                  <a:cubicBezTo>
                    <a:pt x="711900" y="1411947"/>
                    <a:pt x="713550" y="1396274"/>
                    <a:pt x="707563" y="1384300"/>
                  </a:cubicBezTo>
                  <a:cubicBezTo>
                    <a:pt x="700737" y="1370648"/>
                    <a:pt x="690630" y="1358900"/>
                    <a:pt x="682163" y="1346200"/>
                  </a:cubicBezTo>
                  <a:cubicBezTo>
                    <a:pt x="660489" y="1172809"/>
                    <a:pt x="701028" y="1288865"/>
                    <a:pt x="631363" y="1219200"/>
                  </a:cubicBezTo>
                  <a:cubicBezTo>
                    <a:pt x="620570" y="1208407"/>
                    <a:pt x="618906" y="1189190"/>
                    <a:pt x="605963" y="1181100"/>
                  </a:cubicBezTo>
                  <a:cubicBezTo>
                    <a:pt x="583259" y="1166910"/>
                    <a:pt x="555163" y="1164167"/>
                    <a:pt x="529763" y="1155700"/>
                  </a:cubicBezTo>
                  <a:lnTo>
                    <a:pt x="491663" y="1143000"/>
                  </a:lnTo>
                  <a:cubicBezTo>
                    <a:pt x="478963" y="1130300"/>
                    <a:pt x="469263" y="1113622"/>
                    <a:pt x="453563" y="1104900"/>
                  </a:cubicBezTo>
                  <a:cubicBezTo>
                    <a:pt x="430158" y="1091897"/>
                    <a:pt x="377363" y="1079500"/>
                    <a:pt x="377363" y="1079500"/>
                  </a:cubicBezTo>
                  <a:lnTo>
                    <a:pt x="263063" y="1003300"/>
                  </a:lnTo>
                  <a:lnTo>
                    <a:pt x="224963" y="977900"/>
                  </a:lnTo>
                  <a:lnTo>
                    <a:pt x="186863" y="952500"/>
                  </a:lnTo>
                  <a:cubicBezTo>
                    <a:pt x="173629" y="912797"/>
                    <a:pt x="160794" y="863154"/>
                    <a:pt x="123363" y="838200"/>
                  </a:cubicBezTo>
                  <a:lnTo>
                    <a:pt x="85263" y="812800"/>
                  </a:lnTo>
                  <a:cubicBezTo>
                    <a:pt x="31142" y="731619"/>
                    <a:pt x="56049" y="758186"/>
                    <a:pt x="21763" y="723900"/>
                  </a:cubicBezTo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1642938970" name="Freeform 410"/>
            <p:cNvSpPr/>
            <p:nvPr/>
          </p:nvSpPr>
          <p:spPr bwMode="auto">
            <a:xfrm>
              <a:off x="2769588" y="1337553"/>
              <a:ext cx="457131" cy="362021"/>
            </a:xfrm>
            <a:custGeom>
              <a:avLst/>
              <a:gdLst>
                <a:gd name="connsiteX0" fmla="*/ 12700 w 4394200"/>
                <a:gd name="connsiteY0" fmla="*/ 1549400 h 3479800"/>
                <a:gd name="connsiteX1" fmla="*/ 127000 w 4394200"/>
                <a:gd name="connsiteY1" fmla="*/ 1498600 h 3479800"/>
                <a:gd name="connsiteX2" fmla="*/ 165100 w 4394200"/>
                <a:gd name="connsiteY2" fmla="*/ 1485900 h 3479800"/>
                <a:gd name="connsiteX3" fmla="*/ 203200 w 4394200"/>
                <a:gd name="connsiteY3" fmla="*/ 1473200 h 3479800"/>
                <a:gd name="connsiteX4" fmla="*/ 241300 w 4394200"/>
                <a:gd name="connsiteY4" fmla="*/ 1447800 h 3479800"/>
                <a:gd name="connsiteX5" fmla="*/ 279400 w 4394200"/>
                <a:gd name="connsiteY5" fmla="*/ 1435100 h 3479800"/>
                <a:gd name="connsiteX6" fmla="*/ 317500 w 4394200"/>
                <a:gd name="connsiteY6" fmla="*/ 1397000 h 3479800"/>
                <a:gd name="connsiteX7" fmla="*/ 393700 w 4394200"/>
                <a:gd name="connsiteY7" fmla="*/ 1371600 h 3479800"/>
                <a:gd name="connsiteX8" fmla="*/ 584200 w 4394200"/>
                <a:gd name="connsiteY8" fmla="*/ 1346200 h 3479800"/>
                <a:gd name="connsiteX9" fmla="*/ 698500 w 4394200"/>
                <a:gd name="connsiteY9" fmla="*/ 1320800 h 3479800"/>
                <a:gd name="connsiteX10" fmla="*/ 889000 w 4394200"/>
                <a:gd name="connsiteY10" fmla="*/ 1308100 h 3479800"/>
                <a:gd name="connsiteX11" fmla="*/ 1168400 w 4394200"/>
                <a:gd name="connsiteY11" fmla="*/ 1320800 h 3479800"/>
                <a:gd name="connsiteX12" fmla="*/ 1638300 w 4394200"/>
                <a:gd name="connsiteY12" fmla="*/ 1333500 h 3479800"/>
                <a:gd name="connsiteX13" fmla="*/ 1714500 w 4394200"/>
                <a:gd name="connsiteY13" fmla="*/ 1358900 h 3479800"/>
                <a:gd name="connsiteX14" fmla="*/ 1854200 w 4394200"/>
                <a:gd name="connsiteY14" fmla="*/ 1397000 h 3479800"/>
                <a:gd name="connsiteX15" fmla="*/ 1905000 w 4394200"/>
                <a:gd name="connsiteY15" fmla="*/ 1409700 h 3479800"/>
                <a:gd name="connsiteX16" fmla="*/ 2019300 w 4394200"/>
                <a:gd name="connsiteY16" fmla="*/ 1447800 h 3479800"/>
                <a:gd name="connsiteX17" fmla="*/ 2057400 w 4394200"/>
                <a:gd name="connsiteY17" fmla="*/ 1460500 h 3479800"/>
                <a:gd name="connsiteX18" fmla="*/ 2425700 w 4394200"/>
                <a:gd name="connsiteY18" fmla="*/ 1460500 h 3479800"/>
                <a:gd name="connsiteX19" fmla="*/ 2463800 w 4394200"/>
                <a:gd name="connsiteY19" fmla="*/ 1485900 h 3479800"/>
                <a:gd name="connsiteX20" fmla="*/ 2501900 w 4394200"/>
                <a:gd name="connsiteY20" fmla="*/ 1498600 h 3479800"/>
                <a:gd name="connsiteX21" fmla="*/ 2540000 w 4394200"/>
                <a:gd name="connsiteY21" fmla="*/ 1524000 h 3479800"/>
                <a:gd name="connsiteX22" fmla="*/ 2616200 w 4394200"/>
                <a:gd name="connsiteY22" fmla="*/ 1549400 h 3479800"/>
                <a:gd name="connsiteX23" fmla="*/ 2654300 w 4394200"/>
                <a:gd name="connsiteY23" fmla="*/ 1574800 h 3479800"/>
                <a:gd name="connsiteX24" fmla="*/ 2730500 w 4394200"/>
                <a:gd name="connsiteY24" fmla="*/ 1600200 h 3479800"/>
                <a:gd name="connsiteX25" fmla="*/ 2819400 w 4394200"/>
                <a:gd name="connsiteY25" fmla="*/ 1574800 h 3479800"/>
                <a:gd name="connsiteX26" fmla="*/ 2857500 w 4394200"/>
                <a:gd name="connsiteY26" fmla="*/ 1549400 h 3479800"/>
                <a:gd name="connsiteX27" fmla="*/ 2882900 w 4394200"/>
                <a:gd name="connsiteY27" fmla="*/ 1511300 h 3479800"/>
                <a:gd name="connsiteX28" fmla="*/ 2921000 w 4394200"/>
                <a:gd name="connsiteY28" fmla="*/ 1485900 h 3479800"/>
                <a:gd name="connsiteX29" fmla="*/ 2933700 w 4394200"/>
                <a:gd name="connsiteY29" fmla="*/ 1447800 h 3479800"/>
                <a:gd name="connsiteX30" fmla="*/ 2959100 w 4394200"/>
                <a:gd name="connsiteY30" fmla="*/ 1409700 h 3479800"/>
                <a:gd name="connsiteX31" fmla="*/ 2984500 w 4394200"/>
                <a:gd name="connsiteY31" fmla="*/ 1333500 h 3479800"/>
                <a:gd name="connsiteX32" fmla="*/ 3022600 w 4394200"/>
                <a:gd name="connsiteY32" fmla="*/ 1168400 h 3479800"/>
                <a:gd name="connsiteX33" fmla="*/ 3060700 w 4394200"/>
                <a:gd name="connsiteY33" fmla="*/ 1130300 h 3479800"/>
                <a:gd name="connsiteX34" fmla="*/ 3086100 w 4394200"/>
                <a:gd name="connsiteY34" fmla="*/ 825500 h 3479800"/>
                <a:gd name="connsiteX35" fmla="*/ 3098800 w 4394200"/>
                <a:gd name="connsiteY35" fmla="*/ 787400 h 3479800"/>
                <a:gd name="connsiteX36" fmla="*/ 3111500 w 4394200"/>
                <a:gd name="connsiteY36" fmla="*/ 736600 h 3479800"/>
                <a:gd name="connsiteX37" fmla="*/ 3136900 w 4394200"/>
                <a:gd name="connsiteY37" fmla="*/ 698500 h 3479800"/>
                <a:gd name="connsiteX38" fmla="*/ 3149600 w 4394200"/>
                <a:gd name="connsiteY38" fmla="*/ 647700 h 3479800"/>
                <a:gd name="connsiteX39" fmla="*/ 3162300 w 4394200"/>
                <a:gd name="connsiteY39" fmla="*/ 609600 h 3479800"/>
                <a:gd name="connsiteX40" fmla="*/ 3200400 w 4394200"/>
                <a:gd name="connsiteY40" fmla="*/ 457200 h 3479800"/>
                <a:gd name="connsiteX41" fmla="*/ 3213100 w 4394200"/>
                <a:gd name="connsiteY41" fmla="*/ 419100 h 3479800"/>
                <a:gd name="connsiteX42" fmla="*/ 3238500 w 4394200"/>
                <a:gd name="connsiteY42" fmla="*/ 381000 h 3479800"/>
                <a:gd name="connsiteX43" fmla="*/ 3352800 w 4394200"/>
                <a:gd name="connsiteY43" fmla="*/ 279400 h 3479800"/>
                <a:gd name="connsiteX44" fmla="*/ 3403600 w 4394200"/>
                <a:gd name="connsiteY44" fmla="*/ 228600 h 3479800"/>
                <a:gd name="connsiteX45" fmla="*/ 3467100 w 4394200"/>
                <a:gd name="connsiteY45" fmla="*/ 177800 h 3479800"/>
                <a:gd name="connsiteX46" fmla="*/ 3543300 w 4394200"/>
                <a:gd name="connsiteY46" fmla="*/ 127000 h 3479800"/>
                <a:gd name="connsiteX47" fmla="*/ 3619500 w 4394200"/>
                <a:gd name="connsiteY47" fmla="*/ 63500 h 3479800"/>
                <a:gd name="connsiteX48" fmla="*/ 3657600 w 4394200"/>
                <a:gd name="connsiteY48" fmla="*/ 50800 h 3479800"/>
                <a:gd name="connsiteX49" fmla="*/ 3695700 w 4394200"/>
                <a:gd name="connsiteY49" fmla="*/ 25400 h 3479800"/>
                <a:gd name="connsiteX50" fmla="*/ 3822700 w 4394200"/>
                <a:gd name="connsiteY50" fmla="*/ 0 h 3479800"/>
                <a:gd name="connsiteX51" fmla="*/ 3962400 w 4394200"/>
                <a:gd name="connsiteY51" fmla="*/ 25400 h 3479800"/>
                <a:gd name="connsiteX52" fmla="*/ 4038600 w 4394200"/>
                <a:gd name="connsiteY52" fmla="*/ 76200 h 3479800"/>
                <a:gd name="connsiteX53" fmla="*/ 4064000 w 4394200"/>
                <a:gd name="connsiteY53" fmla="*/ 114300 h 3479800"/>
                <a:gd name="connsiteX54" fmla="*/ 4025900 w 4394200"/>
                <a:gd name="connsiteY54" fmla="*/ 190500 h 3479800"/>
                <a:gd name="connsiteX55" fmla="*/ 4152900 w 4394200"/>
                <a:gd name="connsiteY55" fmla="*/ 317500 h 3479800"/>
                <a:gd name="connsiteX56" fmla="*/ 4191000 w 4394200"/>
                <a:gd name="connsiteY56" fmla="*/ 342900 h 3479800"/>
                <a:gd name="connsiteX57" fmla="*/ 4229100 w 4394200"/>
                <a:gd name="connsiteY57" fmla="*/ 368300 h 3479800"/>
                <a:gd name="connsiteX58" fmla="*/ 4279900 w 4394200"/>
                <a:gd name="connsiteY58" fmla="*/ 482600 h 3479800"/>
                <a:gd name="connsiteX59" fmla="*/ 4292600 w 4394200"/>
                <a:gd name="connsiteY59" fmla="*/ 520700 h 3479800"/>
                <a:gd name="connsiteX60" fmla="*/ 4305300 w 4394200"/>
                <a:gd name="connsiteY60" fmla="*/ 558800 h 3479800"/>
                <a:gd name="connsiteX61" fmla="*/ 4292600 w 4394200"/>
                <a:gd name="connsiteY61" fmla="*/ 673100 h 3479800"/>
                <a:gd name="connsiteX62" fmla="*/ 4279900 w 4394200"/>
                <a:gd name="connsiteY62" fmla="*/ 711200 h 3479800"/>
                <a:gd name="connsiteX63" fmla="*/ 4318000 w 4394200"/>
                <a:gd name="connsiteY63" fmla="*/ 838200 h 3479800"/>
                <a:gd name="connsiteX64" fmla="*/ 4356100 w 4394200"/>
                <a:gd name="connsiteY64" fmla="*/ 863600 h 3479800"/>
                <a:gd name="connsiteX65" fmla="*/ 4394200 w 4394200"/>
                <a:gd name="connsiteY65" fmla="*/ 939800 h 3479800"/>
                <a:gd name="connsiteX66" fmla="*/ 4356100 w 4394200"/>
                <a:gd name="connsiteY66" fmla="*/ 1168400 h 3479800"/>
                <a:gd name="connsiteX67" fmla="*/ 4330700 w 4394200"/>
                <a:gd name="connsiteY67" fmla="*/ 1206500 h 3479800"/>
                <a:gd name="connsiteX68" fmla="*/ 4343400 w 4394200"/>
                <a:gd name="connsiteY68" fmla="*/ 1282700 h 3479800"/>
                <a:gd name="connsiteX69" fmla="*/ 4381500 w 4394200"/>
                <a:gd name="connsiteY69" fmla="*/ 1308100 h 3479800"/>
                <a:gd name="connsiteX70" fmla="*/ 4394200 w 4394200"/>
                <a:gd name="connsiteY70" fmla="*/ 1346200 h 3479800"/>
                <a:gd name="connsiteX71" fmla="*/ 4381500 w 4394200"/>
                <a:gd name="connsiteY71" fmla="*/ 1422400 h 3479800"/>
                <a:gd name="connsiteX72" fmla="*/ 4330700 w 4394200"/>
                <a:gd name="connsiteY72" fmla="*/ 1498600 h 3479800"/>
                <a:gd name="connsiteX73" fmla="*/ 4267200 w 4394200"/>
                <a:gd name="connsiteY73" fmla="*/ 1562100 h 3479800"/>
                <a:gd name="connsiteX74" fmla="*/ 4203700 w 4394200"/>
                <a:gd name="connsiteY74" fmla="*/ 1651000 h 3479800"/>
                <a:gd name="connsiteX75" fmla="*/ 4178300 w 4394200"/>
                <a:gd name="connsiteY75" fmla="*/ 1689100 h 3479800"/>
                <a:gd name="connsiteX76" fmla="*/ 4114800 w 4394200"/>
                <a:gd name="connsiteY76" fmla="*/ 1765300 h 3479800"/>
                <a:gd name="connsiteX77" fmla="*/ 4064000 w 4394200"/>
                <a:gd name="connsiteY77" fmla="*/ 1879600 h 3479800"/>
                <a:gd name="connsiteX78" fmla="*/ 4051300 w 4394200"/>
                <a:gd name="connsiteY78" fmla="*/ 1943100 h 3479800"/>
                <a:gd name="connsiteX79" fmla="*/ 4025900 w 4394200"/>
                <a:gd name="connsiteY79" fmla="*/ 2082800 h 3479800"/>
                <a:gd name="connsiteX80" fmla="*/ 3975100 w 4394200"/>
                <a:gd name="connsiteY80" fmla="*/ 2159000 h 3479800"/>
                <a:gd name="connsiteX81" fmla="*/ 4000500 w 4394200"/>
                <a:gd name="connsiteY81" fmla="*/ 2235200 h 3479800"/>
                <a:gd name="connsiteX82" fmla="*/ 4013200 w 4394200"/>
                <a:gd name="connsiteY82" fmla="*/ 2273300 h 3479800"/>
                <a:gd name="connsiteX83" fmla="*/ 3987800 w 4394200"/>
                <a:gd name="connsiteY83" fmla="*/ 2540000 h 3479800"/>
                <a:gd name="connsiteX84" fmla="*/ 3911600 w 4394200"/>
                <a:gd name="connsiteY84" fmla="*/ 2565400 h 3479800"/>
                <a:gd name="connsiteX85" fmla="*/ 3898900 w 4394200"/>
                <a:gd name="connsiteY85" fmla="*/ 2603500 h 3479800"/>
                <a:gd name="connsiteX86" fmla="*/ 3886200 w 4394200"/>
                <a:gd name="connsiteY86" fmla="*/ 2717800 h 3479800"/>
                <a:gd name="connsiteX87" fmla="*/ 3797300 w 4394200"/>
                <a:gd name="connsiteY87" fmla="*/ 2844800 h 3479800"/>
                <a:gd name="connsiteX88" fmla="*/ 3708400 w 4394200"/>
                <a:gd name="connsiteY88" fmla="*/ 2870200 h 3479800"/>
                <a:gd name="connsiteX89" fmla="*/ 3594100 w 4394200"/>
                <a:gd name="connsiteY89" fmla="*/ 2921000 h 3479800"/>
                <a:gd name="connsiteX90" fmla="*/ 3556000 w 4394200"/>
                <a:gd name="connsiteY90" fmla="*/ 2933700 h 3479800"/>
                <a:gd name="connsiteX91" fmla="*/ 3517900 w 4394200"/>
                <a:gd name="connsiteY91" fmla="*/ 2946400 h 3479800"/>
                <a:gd name="connsiteX92" fmla="*/ 3454400 w 4394200"/>
                <a:gd name="connsiteY92" fmla="*/ 2959100 h 3479800"/>
                <a:gd name="connsiteX93" fmla="*/ 3441700 w 4394200"/>
                <a:gd name="connsiteY93" fmla="*/ 2997200 h 3479800"/>
                <a:gd name="connsiteX94" fmla="*/ 3429000 w 4394200"/>
                <a:gd name="connsiteY94" fmla="*/ 3048000 h 3479800"/>
                <a:gd name="connsiteX95" fmla="*/ 3390900 w 4394200"/>
                <a:gd name="connsiteY95" fmla="*/ 3035300 h 3479800"/>
                <a:gd name="connsiteX96" fmla="*/ 3365500 w 4394200"/>
                <a:gd name="connsiteY96" fmla="*/ 2997200 h 3479800"/>
                <a:gd name="connsiteX97" fmla="*/ 3289300 w 4394200"/>
                <a:gd name="connsiteY97" fmla="*/ 2971800 h 3479800"/>
                <a:gd name="connsiteX98" fmla="*/ 3251200 w 4394200"/>
                <a:gd name="connsiteY98" fmla="*/ 2959100 h 3479800"/>
                <a:gd name="connsiteX99" fmla="*/ 3187700 w 4394200"/>
                <a:gd name="connsiteY99" fmla="*/ 2946400 h 3479800"/>
                <a:gd name="connsiteX100" fmla="*/ 2844800 w 4394200"/>
                <a:gd name="connsiteY100" fmla="*/ 2933700 h 3479800"/>
                <a:gd name="connsiteX101" fmla="*/ 2679700 w 4394200"/>
                <a:gd name="connsiteY101" fmla="*/ 2908300 h 3479800"/>
                <a:gd name="connsiteX102" fmla="*/ 2336800 w 4394200"/>
                <a:gd name="connsiteY102" fmla="*/ 2882900 h 3479800"/>
                <a:gd name="connsiteX103" fmla="*/ 2184400 w 4394200"/>
                <a:gd name="connsiteY103" fmla="*/ 2857500 h 3479800"/>
                <a:gd name="connsiteX104" fmla="*/ 2108200 w 4394200"/>
                <a:gd name="connsiteY104" fmla="*/ 2844800 h 3479800"/>
                <a:gd name="connsiteX105" fmla="*/ 2146300 w 4394200"/>
                <a:gd name="connsiteY105" fmla="*/ 2832100 h 3479800"/>
                <a:gd name="connsiteX106" fmla="*/ 2044700 w 4394200"/>
                <a:gd name="connsiteY106" fmla="*/ 2844800 h 3479800"/>
                <a:gd name="connsiteX107" fmla="*/ 2095500 w 4394200"/>
                <a:gd name="connsiteY107" fmla="*/ 2857500 h 3479800"/>
                <a:gd name="connsiteX108" fmla="*/ 2057400 w 4394200"/>
                <a:gd name="connsiteY108" fmla="*/ 2870200 h 3479800"/>
                <a:gd name="connsiteX109" fmla="*/ 1955800 w 4394200"/>
                <a:gd name="connsiteY109" fmla="*/ 2832100 h 3479800"/>
                <a:gd name="connsiteX110" fmla="*/ 1905000 w 4394200"/>
                <a:gd name="connsiteY110" fmla="*/ 2819400 h 3479800"/>
                <a:gd name="connsiteX111" fmla="*/ 1790700 w 4394200"/>
                <a:gd name="connsiteY111" fmla="*/ 2755900 h 3479800"/>
                <a:gd name="connsiteX112" fmla="*/ 1714500 w 4394200"/>
                <a:gd name="connsiteY112" fmla="*/ 2717800 h 3479800"/>
                <a:gd name="connsiteX113" fmla="*/ 1638300 w 4394200"/>
                <a:gd name="connsiteY113" fmla="*/ 2679700 h 3479800"/>
                <a:gd name="connsiteX114" fmla="*/ 1549400 w 4394200"/>
                <a:gd name="connsiteY114" fmla="*/ 2578100 h 3479800"/>
                <a:gd name="connsiteX115" fmla="*/ 1511300 w 4394200"/>
                <a:gd name="connsiteY115" fmla="*/ 2565400 h 3479800"/>
                <a:gd name="connsiteX116" fmla="*/ 1473200 w 4394200"/>
                <a:gd name="connsiteY116" fmla="*/ 2578100 h 3479800"/>
                <a:gd name="connsiteX117" fmla="*/ 1460500 w 4394200"/>
                <a:gd name="connsiteY117" fmla="*/ 2654300 h 3479800"/>
                <a:gd name="connsiteX118" fmla="*/ 1498600 w 4394200"/>
                <a:gd name="connsiteY118" fmla="*/ 2667000 h 3479800"/>
                <a:gd name="connsiteX119" fmla="*/ 1562100 w 4394200"/>
                <a:gd name="connsiteY119" fmla="*/ 2730500 h 3479800"/>
                <a:gd name="connsiteX120" fmla="*/ 1600200 w 4394200"/>
                <a:gd name="connsiteY120" fmla="*/ 2806700 h 3479800"/>
                <a:gd name="connsiteX121" fmla="*/ 1587500 w 4394200"/>
                <a:gd name="connsiteY121" fmla="*/ 2933700 h 3479800"/>
                <a:gd name="connsiteX122" fmla="*/ 1549400 w 4394200"/>
                <a:gd name="connsiteY122" fmla="*/ 2946400 h 3479800"/>
                <a:gd name="connsiteX123" fmla="*/ 1346200 w 4394200"/>
                <a:gd name="connsiteY123" fmla="*/ 2921000 h 3479800"/>
                <a:gd name="connsiteX124" fmla="*/ 1308100 w 4394200"/>
                <a:gd name="connsiteY124" fmla="*/ 2908300 h 3479800"/>
                <a:gd name="connsiteX125" fmla="*/ 1219200 w 4394200"/>
                <a:gd name="connsiteY125" fmla="*/ 2933700 h 3479800"/>
                <a:gd name="connsiteX126" fmla="*/ 1206500 w 4394200"/>
                <a:gd name="connsiteY126" fmla="*/ 2971800 h 3479800"/>
                <a:gd name="connsiteX127" fmla="*/ 1231900 w 4394200"/>
                <a:gd name="connsiteY127" fmla="*/ 3111500 h 3479800"/>
                <a:gd name="connsiteX128" fmla="*/ 1282700 w 4394200"/>
                <a:gd name="connsiteY128" fmla="*/ 3187700 h 3479800"/>
                <a:gd name="connsiteX129" fmla="*/ 1333500 w 4394200"/>
                <a:gd name="connsiteY129" fmla="*/ 3263900 h 3479800"/>
                <a:gd name="connsiteX130" fmla="*/ 1320800 w 4394200"/>
                <a:gd name="connsiteY130" fmla="*/ 3314700 h 3479800"/>
                <a:gd name="connsiteX131" fmla="*/ 1257300 w 4394200"/>
                <a:gd name="connsiteY131" fmla="*/ 3327400 h 3479800"/>
                <a:gd name="connsiteX132" fmla="*/ 1104900 w 4394200"/>
                <a:gd name="connsiteY132" fmla="*/ 3314700 h 3479800"/>
                <a:gd name="connsiteX133" fmla="*/ 990600 w 4394200"/>
                <a:gd name="connsiteY133" fmla="*/ 3263900 h 3479800"/>
                <a:gd name="connsiteX134" fmla="*/ 952500 w 4394200"/>
                <a:gd name="connsiteY134" fmla="*/ 3251200 h 3479800"/>
                <a:gd name="connsiteX135" fmla="*/ 876300 w 4394200"/>
                <a:gd name="connsiteY135" fmla="*/ 3200400 h 3479800"/>
                <a:gd name="connsiteX136" fmla="*/ 838200 w 4394200"/>
                <a:gd name="connsiteY136" fmla="*/ 3175000 h 3479800"/>
                <a:gd name="connsiteX137" fmla="*/ 825500 w 4394200"/>
                <a:gd name="connsiteY137" fmla="*/ 3225800 h 3479800"/>
                <a:gd name="connsiteX138" fmla="*/ 838200 w 4394200"/>
                <a:gd name="connsiteY138" fmla="*/ 3263900 h 3479800"/>
                <a:gd name="connsiteX139" fmla="*/ 850900 w 4394200"/>
                <a:gd name="connsiteY139" fmla="*/ 3314700 h 3479800"/>
                <a:gd name="connsiteX140" fmla="*/ 914400 w 4394200"/>
                <a:gd name="connsiteY140" fmla="*/ 3390900 h 3479800"/>
                <a:gd name="connsiteX141" fmla="*/ 914400 w 4394200"/>
                <a:gd name="connsiteY141" fmla="*/ 3467100 h 3479800"/>
                <a:gd name="connsiteX142" fmla="*/ 876300 w 4394200"/>
                <a:gd name="connsiteY142" fmla="*/ 3479800 h 3479800"/>
                <a:gd name="connsiteX143" fmla="*/ 749300 w 4394200"/>
                <a:gd name="connsiteY143" fmla="*/ 3467100 h 3479800"/>
                <a:gd name="connsiteX144" fmla="*/ 711200 w 4394200"/>
                <a:gd name="connsiteY144" fmla="*/ 3454400 h 3479800"/>
                <a:gd name="connsiteX145" fmla="*/ 685800 w 4394200"/>
                <a:gd name="connsiteY145" fmla="*/ 3416300 h 3479800"/>
                <a:gd name="connsiteX146" fmla="*/ 647700 w 4394200"/>
                <a:gd name="connsiteY146" fmla="*/ 3390900 h 3479800"/>
                <a:gd name="connsiteX147" fmla="*/ 571500 w 4394200"/>
                <a:gd name="connsiteY147" fmla="*/ 3314700 h 3479800"/>
                <a:gd name="connsiteX148" fmla="*/ 533400 w 4394200"/>
                <a:gd name="connsiteY148" fmla="*/ 3276600 h 3479800"/>
                <a:gd name="connsiteX149" fmla="*/ 495300 w 4394200"/>
                <a:gd name="connsiteY149" fmla="*/ 3251200 h 3479800"/>
                <a:gd name="connsiteX150" fmla="*/ 431800 w 4394200"/>
                <a:gd name="connsiteY150" fmla="*/ 3175000 h 3479800"/>
                <a:gd name="connsiteX151" fmla="*/ 381000 w 4394200"/>
                <a:gd name="connsiteY151" fmla="*/ 3098800 h 3479800"/>
                <a:gd name="connsiteX152" fmla="*/ 342900 w 4394200"/>
                <a:gd name="connsiteY152" fmla="*/ 3048000 h 3479800"/>
                <a:gd name="connsiteX153" fmla="*/ 292100 w 4394200"/>
                <a:gd name="connsiteY153" fmla="*/ 2971800 h 3479800"/>
                <a:gd name="connsiteX154" fmla="*/ 190500 w 4394200"/>
                <a:gd name="connsiteY154" fmla="*/ 2819400 h 3479800"/>
                <a:gd name="connsiteX155" fmla="*/ 165100 w 4394200"/>
                <a:gd name="connsiteY155" fmla="*/ 2768600 h 3479800"/>
                <a:gd name="connsiteX156" fmla="*/ 139700 w 4394200"/>
                <a:gd name="connsiteY156" fmla="*/ 2730500 h 3479800"/>
                <a:gd name="connsiteX157" fmla="*/ 127000 w 4394200"/>
                <a:gd name="connsiteY157" fmla="*/ 2667000 h 3479800"/>
                <a:gd name="connsiteX158" fmla="*/ 114300 w 4394200"/>
                <a:gd name="connsiteY158" fmla="*/ 2590800 h 3479800"/>
                <a:gd name="connsiteX159" fmla="*/ 88900 w 4394200"/>
                <a:gd name="connsiteY159" fmla="*/ 2501900 h 3479800"/>
                <a:gd name="connsiteX160" fmla="*/ 76200 w 4394200"/>
                <a:gd name="connsiteY160" fmla="*/ 2400300 h 3479800"/>
                <a:gd name="connsiteX161" fmla="*/ 50800 w 4394200"/>
                <a:gd name="connsiteY161" fmla="*/ 2286000 h 3479800"/>
                <a:gd name="connsiteX162" fmla="*/ 38100 w 4394200"/>
                <a:gd name="connsiteY162" fmla="*/ 2171700 h 3479800"/>
                <a:gd name="connsiteX163" fmla="*/ 12700 w 4394200"/>
                <a:gd name="connsiteY163" fmla="*/ 2095500 h 3479800"/>
                <a:gd name="connsiteX164" fmla="*/ 0 w 4394200"/>
                <a:gd name="connsiteY164" fmla="*/ 2044700 h 3479800"/>
                <a:gd name="connsiteX165" fmla="*/ 12700 w 4394200"/>
                <a:gd name="connsiteY165" fmla="*/ 1562100 h 3479800"/>
                <a:gd name="connsiteX166" fmla="*/ 38100 w 4394200"/>
                <a:gd name="connsiteY166" fmla="*/ 1524000 h 3479800"/>
                <a:gd name="connsiteX167" fmla="*/ 76200 w 4394200"/>
                <a:gd name="connsiteY167" fmla="*/ 1511300 h 3479800"/>
                <a:gd name="connsiteX168" fmla="*/ 101600 w 4394200"/>
                <a:gd name="connsiteY168" fmla="*/ 1498600 h 3479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</a:cxnLst>
              <a:rect l="l" t="t" r="r" b="b"/>
              <a:pathLst>
                <a:path w="4394200" h="3479800" extrusionOk="0">
                  <a:moveTo>
                    <a:pt x="12700" y="1549400"/>
                  </a:moveTo>
                  <a:cubicBezTo>
                    <a:pt x="73077" y="1509148"/>
                    <a:pt x="36320" y="1528827"/>
                    <a:pt x="127000" y="1498600"/>
                  </a:cubicBezTo>
                  <a:lnTo>
                    <a:pt x="165100" y="1485900"/>
                  </a:lnTo>
                  <a:lnTo>
                    <a:pt x="203200" y="1473200"/>
                  </a:lnTo>
                  <a:cubicBezTo>
                    <a:pt x="215900" y="1464733"/>
                    <a:pt x="227648" y="1454626"/>
                    <a:pt x="241300" y="1447800"/>
                  </a:cubicBezTo>
                  <a:cubicBezTo>
                    <a:pt x="253274" y="1441813"/>
                    <a:pt x="268261" y="1442526"/>
                    <a:pt x="279400" y="1435100"/>
                  </a:cubicBezTo>
                  <a:cubicBezTo>
                    <a:pt x="294344" y="1425137"/>
                    <a:pt x="301800" y="1405722"/>
                    <a:pt x="317500" y="1397000"/>
                  </a:cubicBezTo>
                  <a:cubicBezTo>
                    <a:pt x="340905" y="1383997"/>
                    <a:pt x="367290" y="1376002"/>
                    <a:pt x="393700" y="1371600"/>
                  </a:cubicBezTo>
                  <a:cubicBezTo>
                    <a:pt x="507713" y="1352598"/>
                    <a:pt x="444307" y="1361744"/>
                    <a:pt x="584200" y="1346200"/>
                  </a:cubicBezTo>
                  <a:cubicBezTo>
                    <a:pt x="612484" y="1339129"/>
                    <a:pt x="671628" y="1323487"/>
                    <a:pt x="698500" y="1320800"/>
                  </a:cubicBezTo>
                  <a:cubicBezTo>
                    <a:pt x="761825" y="1314467"/>
                    <a:pt x="825500" y="1312333"/>
                    <a:pt x="889000" y="1308100"/>
                  </a:cubicBezTo>
                  <a:lnTo>
                    <a:pt x="1168400" y="1320800"/>
                  </a:lnTo>
                  <a:cubicBezTo>
                    <a:pt x="1325001" y="1326108"/>
                    <a:pt x="1481989" y="1322595"/>
                    <a:pt x="1638300" y="1333500"/>
                  </a:cubicBezTo>
                  <a:cubicBezTo>
                    <a:pt x="1665009" y="1335363"/>
                    <a:pt x="1688246" y="1353649"/>
                    <a:pt x="1714500" y="1358900"/>
                  </a:cubicBezTo>
                  <a:cubicBezTo>
                    <a:pt x="1934161" y="1402832"/>
                    <a:pt x="1596392" y="1332548"/>
                    <a:pt x="1854200" y="1397000"/>
                  </a:cubicBezTo>
                  <a:cubicBezTo>
                    <a:pt x="1871133" y="1401233"/>
                    <a:pt x="1888282" y="1404684"/>
                    <a:pt x="1905000" y="1409700"/>
                  </a:cubicBezTo>
                  <a:cubicBezTo>
                    <a:pt x="1943467" y="1421240"/>
                    <a:pt x="1981200" y="1435100"/>
                    <a:pt x="2019300" y="1447800"/>
                  </a:cubicBezTo>
                  <a:lnTo>
                    <a:pt x="2057400" y="1460500"/>
                  </a:lnTo>
                  <a:cubicBezTo>
                    <a:pt x="2210115" y="1446617"/>
                    <a:pt x="2253221" y="1435860"/>
                    <a:pt x="2425700" y="1460500"/>
                  </a:cubicBezTo>
                  <a:cubicBezTo>
                    <a:pt x="2440810" y="1462659"/>
                    <a:pt x="2450148" y="1479074"/>
                    <a:pt x="2463800" y="1485900"/>
                  </a:cubicBezTo>
                  <a:cubicBezTo>
                    <a:pt x="2475774" y="1491887"/>
                    <a:pt x="2489200" y="1494367"/>
                    <a:pt x="2501900" y="1498600"/>
                  </a:cubicBezTo>
                  <a:cubicBezTo>
                    <a:pt x="2514600" y="1507067"/>
                    <a:pt x="2526052" y="1517801"/>
                    <a:pt x="2540000" y="1524000"/>
                  </a:cubicBezTo>
                  <a:cubicBezTo>
                    <a:pt x="2564466" y="1534874"/>
                    <a:pt x="2616200" y="1549400"/>
                    <a:pt x="2616200" y="1549400"/>
                  </a:cubicBezTo>
                  <a:cubicBezTo>
                    <a:pt x="2628900" y="1557867"/>
                    <a:pt x="2640352" y="1568601"/>
                    <a:pt x="2654300" y="1574800"/>
                  </a:cubicBezTo>
                  <a:cubicBezTo>
                    <a:pt x="2678766" y="1585674"/>
                    <a:pt x="2730500" y="1600200"/>
                    <a:pt x="2730500" y="1600200"/>
                  </a:cubicBezTo>
                  <a:cubicBezTo>
                    <a:pt x="2746776" y="1596131"/>
                    <a:pt x="2801180" y="1583910"/>
                    <a:pt x="2819400" y="1574800"/>
                  </a:cubicBezTo>
                  <a:cubicBezTo>
                    <a:pt x="2833052" y="1567974"/>
                    <a:pt x="2844800" y="1557867"/>
                    <a:pt x="2857500" y="1549400"/>
                  </a:cubicBezTo>
                  <a:cubicBezTo>
                    <a:pt x="2865967" y="1536700"/>
                    <a:pt x="2872107" y="1522093"/>
                    <a:pt x="2882900" y="1511300"/>
                  </a:cubicBezTo>
                  <a:cubicBezTo>
                    <a:pt x="2893693" y="1500507"/>
                    <a:pt x="2911465" y="1497819"/>
                    <a:pt x="2921000" y="1485900"/>
                  </a:cubicBezTo>
                  <a:cubicBezTo>
                    <a:pt x="2929363" y="1475447"/>
                    <a:pt x="2927713" y="1459774"/>
                    <a:pt x="2933700" y="1447800"/>
                  </a:cubicBezTo>
                  <a:cubicBezTo>
                    <a:pt x="2940526" y="1434148"/>
                    <a:pt x="2952901" y="1423648"/>
                    <a:pt x="2959100" y="1409700"/>
                  </a:cubicBezTo>
                  <a:cubicBezTo>
                    <a:pt x="2969974" y="1385234"/>
                    <a:pt x="2984500" y="1333500"/>
                    <a:pt x="2984500" y="1333500"/>
                  </a:cubicBezTo>
                  <a:cubicBezTo>
                    <a:pt x="2994063" y="1237873"/>
                    <a:pt x="2975271" y="1225195"/>
                    <a:pt x="3022600" y="1168400"/>
                  </a:cubicBezTo>
                  <a:cubicBezTo>
                    <a:pt x="3034098" y="1154602"/>
                    <a:pt x="3048000" y="1143000"/>
                    <a:pt x="3060700" y="1130300"/>
                  </a:cubicBezTo>
                  <a:cubicBezTo>
                    <a:pt x="3066515" y="1025638"/>
                    <a:pt x="3063659" y="926486"/>
                    <a:pt x="3086100" y="825500"/>
                  </a:cubicBezTo>
                  <a:cubicBezTo>
                    <a:pt x="3089004" y="812432"/>
                    <a:pt x="3095122" y="800272"/>
                    <a:pt x="3098800" y="787400"/>
                  </a:cubicBezTo>
                  <a:cubicBezTo>
                    <a:pt x="3103595" y="770617"/>
                    <a:pt x="3104624" y="752643"/>
                    <a:pt x="3111500" y="736600"/>
                  </a:cubicBezTo>
                  <a:cubicBezTo>
                    <a:pt x="3117513" y="722571"/>
                    <a:pt x="3128433" y="711200"/>
                    <a:pt x="3136900" y="698500"/>
                  </a:cubicBezTo>
                  <a:cubicBezTo>
                    <a:pt x="3141133" y="681567"/>
                    <a:pt x="3144805" y="664483"/>
                    <a:pt x="3149600" y="647700"/>
                  </a:cubicBezTo>
                  <a:cubicBezTo>
                    <a:pt x="3153278" y="634828"/>
                    <a:pt x="3159396" y="622668"/>
                    <a:pt x="3162300" y="609600"/>
                  </a:cubicBezTo>
                  <a:cubicBezTo>
                    <a:pt x="3196503" y="455686"/>
                    <a:pt x="3149076" y="611173"/>
                    <a:pt x="3200400" y="457200"/>
                  </a:cubicBezTo>
                  <a:cubicBezTo>
                    <a:pt x="3204633" y="444500"/>
                    <a:pt x="3205674" y="430239"/>
                    <a:pt x="3213100" y="419100"/>
                  </a:cubicBezTo>
                  <a:cubicBezTo>
                    <a:pt x="3221567" y="406400"/>
                    <a:pt x="3228359" y="392408"/>
                    <a:pt x="3238500" y="381000"/>
                  </a:cubicBezTo>
                  <a:cubicBezTo>
                    <a:pt x="3301768" y="309824"/>
                    <a:pt x="3294893" y="318005"/>
                    <a:pt x="3352800" y="279400"/>
                  </a:cubicBezTo>
                  <a:cubicBezTo>
                    <a:pt x="3380509" y="196273"/>
                    <a:pt x="3342024" y="277861"/>
                    <a:pt x="3403600" y="228600"/>
                  </a:cubicBezTo>
                  <a:cubicBezTo>
                    <a:pt x="3485664" y="162948"/>
                    <a:pt x="3371335" y="209722"/>
                    <a:pt x="3467100" y="177800"/>
                  </a:cubicBezTo>
                  <a:cubicBezTo>
                    <a:pt x="3492500" y="160867"/>
                    <a:pt x="3521714" y="148586"/>
                    <a:pt x="3543300" y="127000"/>
                  </a:cubicBezTo>
                  <a:cubicBezTo>
                    <a:pt x="3571387" y="98913"/>
                    <a:pt x="3584137" y="81181"/>
                    <a:pt x="3619500" y="63500"/>
                  </a:cubicBezTo>
                  <a:cubicBezTo>
                    <a:pt x="3631474" y="57513"/>
                    <a:pt x="3644900" y="55033"/>
                    <a:pt x="3657600" y="50800"/>
                  </a:cubicBezTo>
                  <a:cubicBezTo>
                    <a:pt x="3670300" y="42333"/>
                    <a:pt x="3681671" y="31413"/>
                    <a:pt x="3695700" y="25400"/>
                  </a:cubicBezTo>
                  <a:cubicBezTo>
                    <a:pt x="3719812" y="15066"/>
                    <a:pt x="3805510" y="2865"/>
                    <a:pt x="3822700" y="0"/>
                  </a:cubicBezTo>
                  <a:cubicBezTo>
                    <a:pt x="3844842" y="2768"/>
                    <a:pt x="3928297" y="6454"/>
                    <a:pt x="3962400" y="25400"/>
                  </a:cubicBezTo>
                  <a:cubicBezTo>
                    <a:pt x="3989085" y="40225"/>
                    <a:pt x="4038600" y="76200"/>
                    <a:pt x="4038600" y="76200"/>
                  </a:cubicBezTo>
                  <a:cubicBezTo>
                    <a:pt x="4047067" y="88900"/>
                    <a:pt x="4061491" y="99244"/>
                    <a:pt x="4064000" y="114300"/>
                  </a:cubicBezTo>
                  <a:cubicBezTo>
                    <a:pt x="4067505" y="135332"/>
                    <a:pt x="4034745" y="177232"/>
                    <a:pt x="4025900" y="190500"/>
                  </a:cubicBezTo>
                  <a:cubicBezTo>
                    <a:pt x="4093633" y="292100"/>
                    <a:pt x="4051300" y="249767"/>
                    <a:pt x="4152900" y="317500"/>
                  </a:cubicBezTo>
                  <a:lnTo>
                    <a:pt x="4191000" y="342900"/>
                  </a:lnTo>
                  <a:lnTo>
                    <a:pt x="4229100" y="368300"/>
                  </a:lnTo>
                  <a:cubicBezTo>
                    <a:pt x="4269352" y="428677"/>
                    <a:pt x="4249673" y="391920"/>
                    <a:pt x="4279900" y="482600"/>
                  </a:cubicBezTo>
                  <a:lnTo>
                    <a:pt x="4292600" y="520700"/>
                  </a:lnTo>
                  <a:lnTo>
                    <a:pt x="4305300" y="558800"/>
                  </a:lnTo>
                  <a:cubicBezTo>
                    <a:pt x="4301067" y="596900"/>
                    <a:pt x="4298902" y="635287"/>
                    <a:pt x="4292600" y="673100"/>
                  </a:cubicBezTo>
                  <a:cubicBezTo>
                    <a:pt x="4290399" y="686305"/>
                    <a:pt x="4279900" y="697813"/>
                    <a:pt x="4279900" y="711200"/>
                  </a:cubicBezTo>
                  <a:cubicBezTo>
                    <a:pt x="4279900" y="759163"/>
                    <a:pt x="4283572" y="803772"/>
                    <a:pt x="4318000" y="838200"/>
                  </a:cubicBezTo>
                  <a:cubicBezTo>
                    <a:pt x="4328793" y="848993"/>
                    <a:pt x="4343400" y="855133"/>
                    <a:pt x="4356100" y="863600"/>
                  </a:cubicBezTo>
                  <a:cubicBezTo>
                    <a:pt x="4368942" y="882863"/>
                    <a:pt x="4394200" y="913510"/>
                    <a:pt x="4394200" y="939800"/>
                  </a:cubicBezTo>
                  <a:cubicBezTo>
                    <a:pt x="4394200" y="977919"/>
                    <a:pt x="4389782" y="1117877"/>
                    <a:pt x="4356100" y="1168400"/>
                  </a:cubicBezTo>
                  <a:lnTo>
                    <a:pt x="4330700" y="1206500"/>
                  </a:lnTo>
                  <a:cubicBezTo>
                    <a:pt x="4334933" y="1231900"/>
                    <a:pt x="4331884" y="1259668"/>
                    <a:pt x="4343400" y="1282700"/>
                  </a:cubicBezTo>
                  <a:cubicBezTo>
                    <a:pt x="4350226" y="1296352"/>
                    <a:pt x="4371965" y="1296181"/>
                    <a:pt x="4381500" y="1308100"/>
                  </a:cubicBezTo>
                  <a:cubicBezTo>
                    <a:pt x="4389863" y="1318553"/>
                    <a:pt x="4389967" y="1333500"/>
                    <a:pt x="4394200" y="1346200"/>
                  </a:cubicBezTo>
                  <a:cubicBezTo>
                    <a:pt x="4389967" y="1371600"/>
                    <a:pt x="4391404" y="1398630"/>
                    <a:pt x="4381500" y="1422400"/>
                  </a:cubicBezTo>
                  <a:cubicBezTo>
                    <a:pt x="4369759" y="1450579"/>
                    <a:pt x="4347633" y="1473200"/>
                    <a:pt x="4330700" y="1498600"/>
                  </a:cubicBezTo>
                  <a:cubicBezTo>
                    <a:pt x="4296833" y="1549400"/>
                    <a:pt x="4318000" y="1528233"/>
                    <a:pt x="4267200" y="1562100"/>
                  </a:cubicBezTo>
                  <a:cubicBezTo>
                    <a:pt x="4207340" y="1651890"/>
                    <a:pt x="4282464" y="1540731"/>
                    <a:pt x="4203700" y="1651000"/>
                  </a:cubicBezTo>
                  <a:cubicBezTo>
                    <a:pt x="4194828" y="1663420"/>
                    <a:pt x="4188071" y="1677374"/>
                    <a:pt x="4178300" y="1689100"/>
                  </a:cubicBezTo>
                  <a:cubicBezTo>
                    <a:pt x="4149816" y="1723280"/>
                    <a:pt x="4132818" y="1724759"/>
                    <a:pt x="4114800" y="1765300"/>
                  </a:cubicBezTo>
                  <a:cubicBezTo>
                    <a:pt x="4054347" y="1901320"/>
                    <a:pt x="4121483" y="1793375"/>
                    <a:pt x="4064000" y="1879600"/>
                  </a:cubicBezTo>
                  <a:cubicBezTo>
                    <a:pt x="4059767" y="1900767"/>
                    <a:pt x="4054582" y="1921765"/>
                    <a:pt x="4051300" y="1943100"/>
                  </a:cubicBezTo>
                  <a:cubicBezTo>
                    <a:pt x="4047649" y="1966832"/>
                    <a:pt x="4045192" y="2048074"/>
                    <a:pt x="4025900" y="2082800"/>
                  </a:cubicBezTo>
                  <a:cubicBezTo>
                    <a:pt x="4011075" y="2109485"/>
                    <a:pt x="3975100" y="2159000"/>
                    <a:pt x="3975100" y="2159000"/>
                  </a:cubicBezTo>
                  <a:lnTo>
                    <a:pt x="4000500" y="2235200"/>
                  </a:lnTo>
                  <a:lnTo>
                    <a:pt x="4013200" y="2273300"/>
                  </a:lnTo>
                  <a:cubicBezTo>
                    <a:pt x="4004733" y="2362200"/>
                    <a:pt x="4017138" y="2455654"/>
                    <a:pt x="3987800" y="2540000"/>
                  </a:cubicBezTo>
                  <a:cubicBezTo>
                    <a:pt x="3979004" y="2565288"/>
                    <a:pt x="3911600" y="2565400"/>
                    <a:pt x="3911600" y="2565400"/>
                  </a:cubicBezTo>
                  <a:cubicBezTo>
                    <a:pt x="3907367" y="2578100"/>
                    <a:pt x="3901101" y="2590295"/>
                    <a:pt x="3898900" y="2603500"/>
                  </a:cubicBezTo>
                  <a:cubicBezTo>
                    <a:pt x="3892598" y="2641313"/>
                    <a:pt x="3898322" y="2681433"/>
                    <a:pt x="3886200" y="2717800"/>
                  </a:cubicBezTo>
                  <a:cubicBezTo>
                    <a:pt x="3885733" y="2719201"/>
                    <a:pt x="3810676" y="2833654"/>
                    <a:pt x="3797300" y="2844800"/>
                  </a:cubicBezTo>
                  <a:cubicBezTo>
                    <a:pt x="3789492" y="2851307"/>
                    <a:pt x="3711102" y="2869525"/>
                    <a:pt x="3708400" y="2870200"/>
                  </a:cubicBezTo>
                  <a:cubicBezTo>
                    <a:pt x="3648023" y="2910452"/>
                    <a:pt x="3684780" y="2890773"/>
                    <a:pt x="3594100" y="2921000"/>
                  </a:cubicBezTo>
                  <a:lnTo>
                    <a:pt x="3556000" y="2933700"/>
                  </a:lnTo>
                  <a:cubicBezTo>
                    <a:pt x="3543300" y="2937933"/>
                    <a:pt x="3531027" y="2943775"/>
                    <a:pt x="3517900" y="2946400"/>
                  </a:cubicBezTo>
                  <a:lnTo>
                    <a:pt x="3454400" y="2959100"/>
                  </a:lnTo>
                  <a:cubicBezTo>
                    <a:pt x="3450167" y="2971800"/>
                    <a:pt x="3445378" y="2984328"/>
                    <a:pt x="3441700" y="2997200"/>
                  </a:cubicBezTo>
                  <a:cubicBezTo>
                    <a:pt x="3436905" y="3013983"/>
                    <a:pt x="3442964" y="3037527"/>
                    <a:pt x="3429000" y="3048000"/>
                  </a:cubicBezTo>
                  <a:cubicBezTo>
                    <a:pt x="3418290" y="3056032"/>
                    <a:pt x="3403600" y="3039533"/>
                    <a:pt x="3390900" y="3035300"/>
                  </a:cubicBezTo>
                  <a:cubicBezTo>
                    <a:pt x="3382433" y="3022600"/>
                    <a:pt x="3378443" y="3005290"/>
                    <a:pt x="3365500" y="2997200"/>
                  </a:cubicBezTo>
                  <a:cubicBezTo>
                    <a:pt x="3342796" y="2983010"/>
                    <a:pt x="3314700" y="2980267"/>
                    <a:pt x="3289300" y="2971800"/>
                  </a:cubicBezTo>
                  <a:lnTo>
                    <a:pt x="3251200" y="2959100"/>
                  </a:lnTo>
                  <a:cubicBezTo>
                    <a:pt x="3230722" y="2952274"/>
                    <a:pt x="3209244" y="2947746"/>
                    <a:pt x="3187700" y="2946400"/>
                  </a:cubicBezTo>
                  <a:cubicBezTo>
                    <a:pt x="3073544" y="2939265"/>
                    <a:pt x="2959100" y="2937933"/>
                    <a:pt x="2844800" y="2933700"/>
                  </a:cubicBezTo>
                  <a:cubicBezTo>
                    <a:pt x="2774578" y="2919656"/>
                    <a:pt x="2760431" y="2915220"/>
                    <a:pt x="2679700" y="2908300"/>
                  </a:cubicBezTo>
                  <a:cubicBezTo>
                    <a:pt x="2565506" y="2898512"/>
                    <a:pt x="2336800" y="2882900"/>
                    <a:pt x="2336800" y="2882900"/>
                  </a:cubicBezTo>
                  <a:cubicBezTo>
                    <a:pt x="2257381" y="2856427"/>
                    <a:pt x="2326183" y="2876404"/>
                    <a:pt x="2184400" y="2857500"/>
                  </a:cubicBezTo>
                  <a:cubicBezTo>
                    <a:pt x="2158876" y="2854097"/>
                    <a:pt x="2133600" y="2849033"/>
                    <a:pt x="2108200" y="2844800"/>
                  </a:cubicBezTo>
                  <a:cubicBezTo>
                    <a:pt x="2120900" y="2840567"/>
                    <a:pt x="2159687" y="2832100"/>
                    <a:pt x="2146300" y="2832100"/>
                  </a:cubicBezTo>
                  <a:cubicBezTo>
                    <a:pt x="2112170" y="2832100"/>
                    <a:pt x="2075227" y="2829536"/>
                    <a:pt x="2044700" y="2844800"/>
                  </a:cubicBezTo>
                  <a:cubicBezTo>
                    <a:pt x="2029088" y="2852606"/>
                    <a:pt x="2078567" y="2853267"/>
                    <a:pt x="2095500" y="2857500"/>
                  </a:cubicBezTo>
                  <a:cubicBezTo>
                    <a:pt x="2082800" y="2861733"/>
                    <a:pt x="2070787" y="2870200"/>
                    <a:pt x="2057400" y="2870200"/>
                  </a:cubicBezTo>
                  <a:cubicBezTo>
                    <a:pt x="1971506" y="2870200"/>
                    <a:pt x="2017112" y="2858377"/>
                    <a:pt x="1955800" y="2832100"/>
                  </a:cubicBezTo>
                  <a:cubicBezTo>
                    <a:pt x="1939757" y="2825224"/>
                    <a:pt x="1921933" y="2823633"/>
                    <a:pt x="1905000" y="2819400"/>
                  </a:cubicBezTo>
                  <a:cubicBezTo>
                    <a:pt x="1817661" y="2761174"/>
                    <a:pt x="1857760" y="2778253"/>
                    <a:pt x="1790700" y="2755900"/>
                  </a:cubicBezTo>
                  <a:cubicBezTo>
                    <a:pt x="1681511" y="2683107"/>
                    <a:pt x="1819660" y="2770380"/>
                    <a:pt x="1714500" y="2717800"/>
                  </a:cubicBezTo>
                  <a:cubicBezTo>
                    <a:pt x="1616023" y="2668561"/>
                    <a:pt x="1734065" y="2711622"/>
                    <a:pt x="1638300" y="2679700"/>
                  </a:cubicBezTo>
                  <a:cubicBezTo>
                    <a:pt x="1574800" y="2637367"/>
                    <a:pt x="1608667" y="2667000"/>
                    <a:pt x="1549400" y="2578100"/>
                  </a:cubicBezTo>
                  <a:cubicBezTo>
                    <a:pt x="1541974" y="2566961"/>
                    <a:pt x="1524000" y="2569633"/>
                    <a:pt x="1511300" y="2565400"/>
                  </a:cubicBezTo>
                  <a:cubicBezTo>
                    <a:pt x="1498600" y="2569633"/>
                    <a:pt x="1483653" y="2569737"/>
                    <a:pt x="1473200" y="2578100"/>
                  </a:cubicBezTo>
                  <a:cubicBezTo>
                    <a:pt x="1449813" y="2596810"/>
                    <a:pt x="1434695" y="2628495"/>
                    <a:pt x="1460500" y="2654300"/>
                  </a:cubicBezTo>
                  <a:cubicBezTo>
                    <a:pt x="1469966" y="2663766"/>
                    <a:pt x="1485900" y="2662767"/>
                    <a:pt x="1498600" y="2667000"/>
                  </a:cubicBezTo>
                  <a:cubicBezTo>
                    <a:pt x="1566333" y="2768600"/>
                    <a:pt x="1477433" y="2645833"/>
                    <a:pt x="1562100" y="2730500"/>
                  </a:cubicBezTo>
                  <a:cubicBezTo>
                    <a:pt x="1586719" y="2755119"/>
                    <a:pt x="1589871" y="2775712"/>
                    <a:pt x="1600200" y="2806700"/>
                  </a:cubicBezTo>
                  <a:cubicBezTo>
                    <a:pt x="1595967" y="2849033"/>
                    <a:pt x="1602039" y="2893717"/>
                    <a:pt x="1587500" y="2933700"/>
                  </a:cubicBezTo>
                  <a:cubicBezTo>
                    <a:pt x="1582925" y="2946281"/>
                    <a:pt x="1562787" y="2946400"/>
                    <a:pt x="1549400" y="2946400"/>
                  </a:cubicBezTo>
                  <a:cubicBezTo>
                    <a:pt x="1517389" y="2946400"/>
                    <a:pt x="1385561" y="2926623"/>
                    <a:pt x="1346200" y="2921000"/>
                  </a:cubicBezTo>
                  <a:cubicBezTo>
                    <a:pt x="1333500" y="2916767"/>
                    <a:pt x="1321487" y="2908300"/>
                    <a:pt x="1308100" y="2908300"/>
                  </a:cubicBezTo>
                  <a:cubicBezTo>
                    <a:pt x="1292153" y="2908300"/>
                    <a:pt x="1237167" y="2927711"/>
                    <a:pt x="1219200" y="2933700"/>
                  </a:cubicBezTo>
                  <a:cubicBezTo>
                    <a:pt x="1214967" y="2946400"/>
                    <a:pt x="1206500" y="2958413"/>
                    <a:pt x="1206500" y="2971800"/>
                  </a:cubicBezTo>
                  <a:cubicBezTo>
                    <a:pt x="1206500" y="2988960"/>
                    <a:pt x="1214040" y="3079351"/>
                    <a:pt x="1231900" y="3111500"/>
                  </a:cubicBezTo>
                  <a:cubicBezTo>
                    <a:pt x="1246725" y="3138185"/>
                    <a:pt x="1265767" y="3162300"/>
                    <a:pt x="1282700" y="3187700"/>
                  </a:cubicBezTo>
                  <a:cubicBezTo>
                    <a:pt x="1356218" y="3297978"/>
                    <a:pt x="1211957" y="3142357"/>
                    <a:pt x="1333500" y="3263900"/>
                  </a:cubicBezTo>
                  <a:cubicBezTo>
                    <a:pt x="1329267" y="3280833"/>
                    <a:pt x="1334209" y="3303526"/>
                    <a:pt x="1320800" y="3314700"/>
                  </a:cubicBezTo>
                  <a:cubicBezTo>
                    <a:pt x="1304217" y="3328519"/>
                    <a:pt x="1278886" y="3327400"/>
                    <a:pt x="1257300" y="3327400"/>
                  </a:cubicBezTo>
                  <a:cubicBezTo>
                    <a:pt x="1206324" y="3327400"/>
                    <a:pt x="1155700" y="3318933"/>
                    <a:pt x="1104900" y="3314700"/>
                  </a:cubicBezTo>
                  <a:cubicBezTo>
                    <a:pt x="1044523" y="3274448"/>
                    <a:pt x="1081280" y="3294127"/>
                    <a:pt x="990600" y="3263900"/>
                  </a:cubicBezTo>
                  <a:lnTo>
                    <a:pt x="952500" y="3251200"/>
                  </a:lnTo>
                  <a:lnTo>
                    <a:pt x="876300" y="3200400"/>
                  </a:lnTo>
                  <a:lnTo>
                    <a:pt x="838200" y="3175000"/>
                  </a:lnTo>
                  <a:cubicBezTo>
                    <a:pt x="833967" y="3191933"/>
                    <a:pt x="825500" y="3208346"/>
                    <a:pt x="825500" y="3225800"/>
                  </a:cubicBezTo>
                  <a:cubicBezTo>
                    <a:pt x="825500" y="3239187"/>
                    <a:pt x="834522" y="3251028"/>
                    <a:pt x="838200" y="3263900"/>
                  </a:cubicBezTo>
                  <a:cubicBezTo>
                    <a:pt x="842995" y="3280683"/>
                    <a:pt x="844024" y="3298657"/>
                    <a:pt x="850900" y="3314700"/>
                  </a:cubicBezTo>
                  <a:cubicBezTo>
                    <a:pt x="864161" y="3345642"/>
                    <a:pt x="891514" y="3368014"/>
                    <a:pt x="914400" y="3390900"/>
                  </a:cubicBezTo>
                  <a:cubicBezTo>
                    <a:pt x="922867" y="3416300"/>
                    <a:pt x="939800" y="3441700"/>
                    <a:pt x="914400" y="3467100"/>
                  </a:cubicBezTo>
                  <a:cubicBezTo>
                    <a:pt x="904934" y="3476566"/>
                    <a:pt x="889000" y="3475567"/>
                    <a:pt x="876300" y="3479800"/>
                  </a:cubicBezTo>
                  <a:cubicBezTo>
                    <a:pt x="833967" y="3475567"/>
                    <a:pt x="791350" y="3473569"/>
                    <a:pt x="749300" y="3467100"/>
                  </a:cubicBezTo>
                  <a:cubicBezTo>
                    <a:pt x="736069" y="3465064"/>
                    <a:pt x="721653" y="3462763"/>
                    <a:pt x="711200" y="3454400"/>
                  </a:cubicBezTo>
                  <a:cubicBezTo>
                    <a:pt x="699281" y="3444865"/>
                    <a:pt x="696593" y="3427093"/>
                    <a:pt x="685800" y="3416300"/>
                  </a:cubicBezTo>
                  <a:cubicBezTo>
                    <a:pt x="675007" y="3405507"/>
                    <a:pt x="659108" y="3401041"/>
                    <a:pt x="647700" y="3390900"/>
                  </a:cubicBezTo>
                  <a:cubicBezTo>
                    <a:pt x="620852" y="3367035"/>
                    <a:pt x="596900" y="3340100"/>
                    <a:pt x="571500" y="3314700"/>
                  </a:cubicBezTo>
                  <a:lnTo>
                    <a:pt x="533400" y="3276600"/>
                  </a:lnTo>
                  <a:cubicBezTo>
                    <a:pt x="522607" y="3265807"/>
                    <a:pt x="508000" y="3259667"/>
                    <a:pt x="495300" y="3251200"/>
                  </a:cubicBezTo>
                  <a:cubicBezTo>
                    <a:pt x="404536" y="3115054"/>
                    <a:pt x="545883" y="3321679"/>
                    <a:pt x="431800" y="3175000"/>
                  </a:cubicBezTo>
                  <a:cubicBezTo>
                    <a:pt x="413058" y="3150903"/>
                    <a:pt x="399316" y="3123222"/>
                    <a:pt x="381000" y="3098800"/>
                  </a:cubicBezTo>
                  <a:cubicBezTo>
                    <a:pt x="368300" y="3081867"/>
                    <a:pt x="355038" y="3065340"/>
                    <a:pt x="342900" y="3048000"/>
                  </a:cubicBezTo>
                  <a:cubicBezTo>
                    <a:pt x="325394" y="3022991"/>
                    <a:pt x="309033" y="2997200"/>
                    <a:pt x="292100" y="2971800"/>
                  </a:cubicBezTo>
                  <a:lnTo>
                    <a:pt x="190500" y="2819400"/>
                  </a:lnTo>
                  <a:cubicBezTo>
                    <a:pt x="179998" y="2803648"/>
                    <a:pt x="174493" y="2785038"/>
                    <a:pt x="165100" y="2768600"/>
                  </a:cubicBezTo>
                  <a:cubicBezTo>
                    <a:pt x="157527" y="2755348"/>
                    <a:pt x="148167" y="2743200"/>
                    <a:pt x="139700" y="2730500"/>
                  </a:cubicBezTo>
                  <a:cubicBezTo>
                    <a:pt x="135467" y="2709333"/>
                    <a:pt x="130861" y="2688238"/>
                    <a:pt x="127000" y="2667000"/>
                  </a:cubicBezTo>
                  <a:cubicBezTo>
                    <a:pt x="122394" y="2641665"/>
                    <a:pt x="119350" y="2616050"/>
                    <a:pt x="114300" y="2590800"/>
                  </a:cubicBezTo>
                  <a:cubicBezTo>
                    <a:pt x="106327" y="2550933"/>
                    <a:pt x="101004" y="2538213"/>
                    <a:pt x="88900" y="2501900"/>
                  </a:cubicBezTo>
                  <a:cubicBezTo>
                    <a:pt x="84667" y="2468033"/>
                    <a:pt x="81390" y="2434033"/>
                    <a:pt x="76200" y="2400300"/>
                  </a:cubicBezTo>
                  <a:cubicBezTo>
                    <a:pt x="69751" y="2358380"/>
                    <a:pt x="60913" y="2326452"/>
                    <a:pt x="50800" y="2286000"/>
                  </a:cubicBezTo>
                  <a:cubicBezTo>
                    <a:pt x="46567" y="2247900"/>
                    <a:pt x="45618" y="2209290"/>
                    <a:pt x="38100" y="2171700"/>
                  </a:cubicBezTo>
                  <a:cubicBezTo>
                    <a:pt x="32849" y="2145446"/>
                    <a:pt x="19194" y="2121475"/>
                    <a:pt x="12700" y="2095500"/>
                  </a:cubicBezTo>
                  <a:lnTo>
                    <a:pt x="0" y="2044700"/>
                  </a:lnTo>
                  <a:cubicBezTo>
                    <a:pt x="4233" y="1883833"/>
                    <a:pt x="957" y="1722593"/>
                    <a:pt x="12700" y="1562100"/>
                  </a:cubicBezTo>
                  <a:cubicBezTo>
                    <a:pt x="13814" y="1546877"/>
                    <a:pt x="26181" y="1533535"/>
                    <a:pt x="38100" y="1524000"/>
                  </a:cubicBezTo>
                  <a:cubicBezTo>
                    <a:pt x="48553" y="1515637"/>
                    <a:pt x="63771" y="1516272"/>
                    <a:pt x="76200" y="1511300"/>
                  </a:cubicBezTo>
                  <a:cubicBezTo>
                    <a:pt x="84989" y="1507784"/>
                    <a:pt x="93133" y="1502833"/>
                    <a:pt x="101600" y="1498600"/>
                  </a:cubicBezTo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1337921335" name="Freeform 411"/>
            <p:cNvSpPr/>
            <p:nvPr/>
          </p:nvSpPr>
          <p:spPr bwMode="auto">
            <a:xfrm>
              <a:off x="2727309" y="1366515"/>
              <a:ext cx="211563" cy="179982"/>
            </a:xfrm>
            <a:custGeom>
              <a:avLst/>
              <a:gdLst>
                <a:gd name="connsiteX0" fmla="*/ 12700 w 2033657"/>
                <a:gd name="connsiteY0" fmla="*/ 661425 h 1730022"/>
                <a:gd name="connsiteX1" fmla="*/ 38100 w 2033657"/>
                <a:gd name="connsiteY1" fmla="*/ 534425 h 1730022"/>
                <a:gd name="connsiteX2" fmla="*/ 63500 w 2033657"/>
                <a:gd name="connsiteY2" fmla="*/ 458225 h 1730022"/>
                <a:gd name="connsiteX3" fmla="*/ 76200 w 2033657"/>
                <a:gd name="connsiteY3" fmla="*/ 420125 h 1730022"/>
                <a:gd name="connsiteX4" fmla="*/ 114300 w 2033657"/>
                <a:gd name="connsiteY4" fmla="*/ 255025 h 1730022"/>
                <a:gd name="connsiteX5" fmla="*/ 152400 w 2033657"/>
                <a:gd name="connsiteY5" fmla="*/ 229625 h 1730022"/>
                <a:gd name="connsiteX6" fmla="*/ 203200 w 2033657"/>
                <a:gd name="connsiteY6" fmla="*/ 166125 h 1730022"/>
                <a:gd name="connsiteX7" fmla="*/ 228600 w 2033657"/>
                <a:gd name="connsiteY7" fmla="*/ 128025 h 1730022"/>
                <a:gd name="connsiteX8" fmla="*/ 304800 w 2033657"/>
                <a:gd name="connsiteY8" fmla="*/ 77225 h 1730022"/>
                <a:gd name="connsiteX9" fmla="*/ 342900 w 2033657"/>
                <a:gd name="connsiteY9" fmla="*/ 51825 h 1730022"/>
                <a:gd name="connsiteX10" fmla="*/ 419100 w 2033657"/>
                <a:gd name="connsiteY10" fmla="*/ 26425 h 1730022"/>
                <a:gd name="connsiteX11" fmla="*/ 520700 w 2033657"/>
                <a:gd name="connsiteY11" fmla="*/ 77225 h 1730022"/>
                <a:gd name="connsiteX12" fmla="*/ 533400 w 2033657"/>
                <a:gd name="connsiteY12" fmla="*/ 128025 h 1730022"/>
                <a:gd name="connsiteX13" fmla="*/ 609600 w 2033657"/>
                <a:gd name="connsiteY13" fmla="*/ 102625 h 1730022"/>
                <a:gd name="connsiteX14" fmla="*/ 647700 w 2033657"/>
                <a:gd name="connsiteY14" fmla="*/ 89925 h 1730022"/>
                <a:gd name="connsiteX15" fmla="*/ 939800 w 2033657"/>
                <a:gd name="connsiteY15" fmla="*/ 102625 h 1730022"/>
                <a:gd name="connsiteX16" fmla="*/ 977900 w 2033657"/>
                <a:gd name="connsiteY16" fmla="*/ 115325 h 1730022"/>
                <a:gd name="connsiteX17" fmla="*/ 1092200 w 2033657"/>
                <a:gd name="connsiteY17" fmla="*/ 191525 h 1730022"/>
                <a:gd name="connsiteX18" fmla="*/ 1168400 w 2033657"/>
                <a:gd name="connsiteY18" fmla="*/ 216925 h 1730022"/>
                <a:gd name="connsiteX19" fmla="*/ 1244600 w 2033657"/>
                <a:gd name="connsiteY19" fmla="*/ 267725 h 1730022"/>
                <a:gd name="connsiteX20" fmla="*/ 1270000 w 2033657"/>
                <a:gd name="connsiteY20" fmla="*/ 305825 h 1730022"/>
                <a:gd name="connsiteX21" fmla="*/ 1346200 w 2033657"/>
                <a:gd name="connsiteY21" fmla="*/ 356625 h 1730022"/>
                <a:gd name="connsiteX22" fmla="*/ 1384300 w 2033657"/>
                <a:gd name="connsiteY22" fmla="*/ 382025 h 1730022"/>
                <a:gd name="connsiteX23" fmla="*/ 1397000 w 2033657"/>
                <a:gd name="connsiteY23" fmla="*/ 420125 h 1730022"/>
                <a:gd name="connsiteX24" fmla="*/ 1473200 w 2033657"/>
                <a:gd name="connsiteY24" fmla="*/ 483625 h 1730022"/>
                <a:gd name="connsiteX25" fmla="*/ 1485900 w 2033657"/>
                <a:gd name="connsiteY25" fmla="*/ 521725 h 1730022"/>
                <a:gd name="connsiteX26" fmla="*/ 1524000 w 2033657"/>
                <a:gd name="connsiteY26" fmla="*/ 534425 h 1730022"/>
                <a:gd name="connsiteX27" fmla="*/ 1574800 w 2033657"/>
                <a:gd name="connsiteY27" fmla="*/ 610625 h 1730022"/>
                <a:gd name="connsiteX28" fmla="*/ 1574800 w 2033657"/>
                <a:gd name="connsiteY28" fmla="*/ 610625 h 1730022"/>
                <a:gd name="connsiteX29" fmla="*/ 1600200 w 2033657"/>
                <a:gd name="connsiteY29" fmla="*/ 699525 h 1730022"/>
                <a:gd name="connsiteX30" fmla="*/ 1625600 w 2033657"/>
                <a:gd name="connsiteY30" fmla="*/ 775725 h 1730022"/>
                <a:gd name="connsiteX31" fmla="*/ 1663700 w 2033657"/>
                <a:gd name="connsiteY31" fmla="*/ 801125 h 1730022"/>
                <a:gd name="connsiteX32" fmla="*/ 1676400 w 2033657"/>
                <a:gd name="connsiteY32" fmla="*/ 839225 h 1730022"/>
                <a:gd name="connsiteX33" fmla="*/ 1790700 w 2033657"/>
                <a:gd name="connsiteY33" fmla="*/ 902725 h 1730022"/>
                <a:gd name="connsiteX34" fmla="*/ 1752600 w 2033657"/>
                <a:gd name="connsiteY34" fmla="*/ 928125 h 1730022"/>
                <a:gd name="connsiteX35" fmla="*/ 1816100 w 2033657"/>
                <a:gd name="connsiteY35" fmla="*/ 978925 h 1730022"/>
                <a:gd name="connsiteX36" fmla="*/ 1854200 w 2033657"/>
                <a:gd name="connsiteY36" fmla="*/ 1004325 h 1730022"/>
                <a:gd name="connsiteX37" fmla="*/ 1892300 w 2033657"/>
                <a:gd name="connsiteY37" fmla="*/ 1017025 h 1730022"/>
                <a:gd name="connsiteX38" fmla="*/ 1930400 w 2033657"/>
                <a:gd name="connsiteY38" fmla="*/ 1055125 h 1730022"/>
                <a:gd name="connsiteX39" fmla="*/ 1714500 w 2033657"/>
                <a:gd name="connsiteY39" fmla="*/ 1080525 h 1730022"/>
                <a:gd name="connsiteX40" fmla="*/ 1676400 w 2033657"/>
                <a:gd name="connsiteY40" fmla="*/ 1105925 h 1730022"/>
                <a:gd name="connsiteX41" fmla="*/ 1651000 w 2033657"/>
                <a:gd name="connsiteY41" fmla="*/ 1144025 h 1730022"/>
                <a:gd name="connsiteX42" fmla="*/ 1625600 w 2033657"/>
                <a:gd name="connsiteY42" fmla="*/ 1271025 h 1730022"/>
                <a:gd name="connsiteX43" fmla="*/ 1587500 w 2033657"/>
                <a:gd name="connsiteY43" fmla="*/ 1347225 h 1730022"/>
                <a:gd name="connsiteX44" fmla="*/ 1562100 w 2033657"/>
                <a:gd name="connsiteY44" fmla="*/ 1385325 h 1730022"/>
                <a:gd name="connsiteX45" fmla="*/ 1498600 w 2033657"/>
                <a:gd name="connsiteY45" fmla="*/ 1474225 h 1730022"/>
                <a:gd name="connsiteX46" fmla="*/ 1460500 w 2033657"/>
                <a:gd name="connsiteY46" fmla="*/ 1461525 h 1730022"/>
                <a:gd name="connsiteX47" fmla="*/ 1384300 w 2033657"/>
                <a:gd name="connsiteY47" fmla="*/ 1423425 h 1730022"/>
                <a:gd name="connsiteX48" fmla="*/ 1346200 w 2033657"/>
                <a:gd name="connsiteY48" fmla="*/ 1461525 h 1730022"/>
                <a:gd name="connsiteX49" fmla="*/ 1371600 w 2033657"/>
                <a:gd name="connsiteY49" fmla="*/ 1639325 h 1730022"/>
                <a:gd name="connsiteX50" fmla="*/ 1346200 w 2033657"/>
                <a:gd name="connsiteY50" fmla="*/ 1702825 h 1730022"/>
                <a:gd name="connsiteX51" fmla="*/ 1231900 w 2033657"/>
                <a:gd name="connsiteY51" fmla="*/ 1652025 h 1730022"/>
                <a:gd name="connsiteX52" fmla="*/ 1193800 w 2033657"/>
                <a:gd name="connsiteY52" fmla="*/ 1639325 h 1730022"/>
                <a:gd name="connsiteX53" fmla="*/ 1143000 w 2033657"/>
                <a:gd name="connsiteY53" fmla="*/ 1639325 h 1730022"/>
                <a:gd name="connsiteX54" fmla="*/ 1104900 w 2033657"/>
                <a:gd name="connsiteY54" fmla="*/ 1652025 h 1730022"/>
                <a:gd name="connsiteX55" fmla="*/ 1028700 w 2033657"/>
                <a:gd name="connsiteY55" fmla="*/ 1613925 h 1730022"/>
                <a:gd name="connsiteX56" fmla="*/ 965200 w 2033657"/>
                <a:gd name="connsiteY56" fmla="*/ 1563125 h 1730022"/>
                <a:gd name="connsiteX57" fmla="*/ 939800 w 2033657"/>
                <a:gd name="connsiteY57" fmla="*/ 1525025 h 1730022"/>
                <a:gd name="connsiteX58" fmla="*/ 901700 w 2033657"/>
                <a:gd name="connsiteY58" fmla="*/ 1537725 h 1730022"/>
                <a:gd name="connsiteX59" fmla="*/ 825500 w 2033657"/>
                <a:gd name="connsiteY59" fmla="*/ 1525025 h 1730022"/>
                <a:gd name="connsiteX60" fmla="*/ 787400 w 2033657"/>
                <a:gd name="connsiteY60" fmla="*/ 1486925 h 1730022"/>
                <a:gd name="connsiteX61" fmla="*/ 736600 w 2033657"/>
                <a:gd name="connsiteY61" fmla="*/ 1410725 h 1730022"/>
                <a:gd name="connsiteX62" fmla="*/ 711200 w 2033657"/>
                <a:gd name="connsiteY62" fmla="*/ 1372625 h 1730022"/>
                <a:gd name="connsiteX63" fmla="*/ 673100 w 2033657"/>
                <a:gd name="connsiteY63" fmla="*/ 1334525 h 1730022"/>
                <a:gd name="connsiteX64" fmla="*/ 647700 w 2033657"/>
                <a:gd name="connsiteY64" fmla="*/ 1296425 h 1730022"/>
                <a:gd name="connsiteX65" fmla="*/ 571500 w 2033657"/>
                <a:gd name="connsiteY65" fmla="*/ 1245625 h 1730022"/>
                <a:gd name="connsiteX66" fmla="*/ 495300 w 2033657"/>
                <a:gd name="connsiteY66" fmla="*/ 1220225 h 1730022"/>
                <a:gd name="connsiteX67" fmla="*/ 381000 w 2033657"/>
                <a:gd name="connsiteY67" fmla="*/ 1194825 h 1730022"/>
                <a:gd name="connsiteX68" fmla="*/ 406400 w 2033657"/>
                <a:gd name="connsiteY68" fmla="*/ 1105925 h 1730022"/>
                <a:gd name="connsiteX69" fmla="*/ 457200 w 2033657"/>
                <a:gd name="connsiteY69" fmla="*/ 1029725 h 1730022"/>
                <a:gd name="connsiteX70" fmla="*/ 482600 w 2033657"/>
                <a:gd name="connsiteY70" fmla="*/ 953525 h 1730022"/>
                <a:gd name="connsiteX71" fmla="*/ 495300 w 2033657"/>
                <a:gd name="connsiteY71" fmla="*/ 915425 h 1730022"/>
                <a:gd name="connsiteX72" fmla="*/ 444500 w 2033657"/>
                <a:gd name="connsiteY72" fmla="*/ 902725 h 1730022"/>
                <a:gd name="connsiteX73" fmla="*/ 368300 w 2033657"/>
                <a:gd name="connsiteY73" fmla="*/ 928125 h 1730022"/>
                <a:gd name="connsiteX74" fmla="*/ 317500 w 2033657"/>
                <a:gd name="connsiteY74" fmla="*/ 915425 h 1730022"/>
                <a:gd name="connsiteX75" fmla="*/ 228600 w 2033657"/>
                <a:gd name="connsiteY75" fmla="*/ 813825 h 1730022"/>
                <a:gd name="connsiteX76" fmla="*/ 190500 w 2033657"/>
                <a:gd name="connsiteY76" fmla="*/ 737625 h 1730022"/>
                <a:gd name="connsiteX77" fmla="*/ 215900 w 2033657"/>
                <a:gd name="connsiteY77" fmla="*/ 661425 h 1730022"/>
                <a:gd name="connsiteX78" fmla="*/ 228600 w 2033657"/>
                <a:gd name="connsiteY78" fmla="*/ 623325 h 1730022"/>
                <a:gd name="connsiteX79" fmla="*/ 215900 w 2033657"/>
                <a:gd name="connsiteY79" fmla="*/ 572525 h 1730022"/>
                <a:gd name="connsiteX80" fmla="*/ 139700 w 2033657"/>
                <a:gd name="connsiteY80" fmla="*/ 547125 h 1730022"/>
                <a:gd name="connsiteX81" fmla="*/ 63500 w 2033657"/>
                <a:gd name="connsiteY81" fmla="*/ 585225 h 1730022"/>
                <a:gd name="connsiteX82" fmla="*/ 12700 w 2033657"/>
                <a:gd name="connsiteY82" fmla="*/ 661425 h 1730022"/>
                <a:gd name="connsiteX83" fmla="*/ 0 w 2033657"/>
                <a:gd name="connsiteY83" fmla="*/ 623325 h 1730022"/>
                <a:gd name="connsiteX84" fmla="*/ 38100 w 2033657"/>
                <a:gd name="connsiteY84" fmla="*/ 483625 h 1730022"/>
                <a:gd name="connsiteX85" fmla="*/ 63500 w 2033657"/>
                <a:gd name="connsiteY85" fmla="*/ 445525 h 1730022"/>
                <a:gd name="connsiteX86" fmla="*/ 76200 w 2033657"/>
                <a:gd name="connsiteY86" fmla="*/ 420125 h 173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2033657" h="1730022" extrusionOk="0">
                  <a:moveTo>
                    <a:pt x="12700" y="661425"/>
                  </a:moveTo>
                  <a:cubicBezTo>
                    <a:pt x="21282" y="609933"/>
                    <a:pt x="23891" y="581788"/>
                    <a:pt x="38100" y="534425"/>
                  </a:cubicBezTo>
                  <a:cubicBezTo>
                    <a:pt x="45793" y="508780"/>
                    <a:pt x="55033" y="483625"/>
                    <a:pt x="63500" y="458225"/>
                  </a:cubicBezTo>
                  <a:lnTo>
                    <a:pt x="76200" y="420125"/>
                  </a:lnTo>
                  <a:cubicBezTo>
                    <a:pt x="82831" y="353814"/>
                    <a:pt x="68023" y="301302"/>
                    <a:pt x="114300" y="255025"/>
                  </a:cubicBezTo>
                  <a:cubicBezTo>
                    <a:pt x="125093" y="244232"/>
                    <a:pt x="139700" y="238092"/>
                    <a:pt x="152400" y="229625"/>
                  </a:cubicBezTo>
                  <a:cubicBezTo>
                    <a:pt x="177124" y="155452"/>
                    <a:pt x="145755" y="223570"/>
                    <a:pt x="203200" y="166125"/>
                  </a:cubicBezTo>
                  <a:cubicBezTo>
                    <a:pt x="213993" y="155332"/>
                    <a:pt x="217113" y="138076"/>
                    <a:pt x="228600" y="128025"/>
                  </a:cubicBezTo>
                  <a:cubicBezTo>
                    <a:pt x="251574" y="107923"/>
                    <a:pt x="279400" y="94158"/>
                    <a:pt x="304800" y="77225"/>
                  </a:cubicBezTo>
                  <a:cubicBezTo>
                    <a:pt x="317500" y="68758"/>
                    <a:pt x="328420" y="56652"/>
                    <a:pt x="342900" y="51825"/>
                  </a:cubicBezTo>
                  <a:lnTo>
                    <a:pt x="419100" y="26425"/>
                  </a:lnTo>
                  <a:cubicBezTo>
                    <a:pt x="617786" y="48501"/>
                    <a:pt x="520700" y="0"/>
                    <a:pt x="520700" y="77225"/>
                  </a:cubicBezTo>
                  <a:cubicBezTo>
                    <a:pt x="520700" y="94679"/>
                    <a:pt x="529167" y="111092"/>
                    <a:pt x="533400" y="128025"/>
                  </a:cubicBezTo>
                  <a:lnTo>
                    <a:pt x="609600" y="102625"/>
                  </a:lnTo>
                  <a:lnTo>
                    <a:pt x="647700" y="89925"/>
                  </a:lnTo>
                  <a:cubicBezTo>
                    <a:pt x="745067" y="94158"/>
                    <a:pt x="842628" y="95150"/>
                    <a:pt x="939800" y="102625"/>
                  </a:cubicBezTo>
                  <a:cubicBezTo>
                    <a:pt x="953148" y="103652"/>
                    <a:pt x="966198" y="108824"/>
                    <a:pt x="977900" y="115325"/>
                  </a:cubicBezTo>
                  <a:lnTo>
                    <a:pt x="1092200" y="191525"/>
                  </a:lnTo>
                  <a:cubicBezTo>
                    <a:pt x="1114477" y="206377"/>
                    <a:pt x="1168400" y="216925"/>
                    <a:pt x="1168400" y="216925"/>
                  </a:cubicBezTo>
                  <a:cubicBezTo>
                    <a:pt x="1193800" y="233858"/>
                    <a:pt x="1227667" y="242325"/>
                    <a:pt x="1244600" y="267725"/>
                  </a:cubicBezTo>
                  <a:cubicBezTo>
                    <a:pt x="1253067" y="280425"/>
                    <a:pt x="1258513" y="295774"/>
                    <a:pt x="1270000" y="305825"/>
                  </a:cubicBezTo>
                  <a:cubicBezTo>
                    <a:pt x="1292974" y="325927"/>
                    <a:pt x="1320800" y="339692"/>
                    <a:pt x="1346200" y="356625"/>
                  </a:cubicBezTo>
                  <a:lnTo>
                    <a:pt x="1384300" y="382025"/>
                  </a:lnTo>
                  <a:cubicBezTo>
                    <a:pt x="1388533" y="394725"/>
                    <a:pt x="1389574" y="408986"/>
                    <a:pt x="1397000" y="420125"/>
                  </a:cubicBezTo>
                  <a:cubicBezTo>
                    <a:pt x="1416557" y="449461"/>
                    <a:pt x="1445087" y="464883"/>
                    <a:pt x="1473200" y="483625"/>
                  </a:cubicBezTo>
                  <a:cubicBezTo>
                    <a:pt x="1477433" y="496325"/>
                    <a:pt x="1476434" y="512259"/>
                    <a:pt x="1485900" y="521725"/>
                  </a:cubicBezTo>
                  <a:cubicBezTo>
                    <a:pt x="1495366" y="531191"/>
                    <a:pt x="1514534" y="524959"/>
                    <a:pt x="1524000" y="534425"/>
                  </a:cubicBezTo>
                  <a:cubicBezTo>
                    <a:pt x="1545586" y="556011"/>
                    <a:pt x="1557867" y="585225"/>
                    <a:pt x="1574800" y="610625"/>
                  </a:cubicBezTo>
                  <a:lnTo>
                    <a:pt x="1574800" y="610625"/>
                  </a:lnTo>
                  <a:cubicBezTo>
                    <a:pt x="1617481" y="738668"/>
                    <a:pt x="1552360" y="540057"/>
                    <a:pt x="1600200" y="699525"/>
                  </a:cubicBezTo>
                  <a:cubicBezTo>
                    <a:pt x="1607893" y="725170"/>
                    <a:pt x="1603323" y="760873"/>
                    <a:pt x="1625600" y="775725"/>
                  </a:cubicBezTo>
                  <a:lnTo>
                    <a:pt x="1663700" y="801125"/>
                  </a:lnTo>
                  <a:cubicBezTo>
                    <a:pt x="1667933" y="813825"/>
                    <a:pt x="1666934" y="829759"/>
                    <a:pt x="1676400" y="839225"/>
                  </a:cubicBezTo>
                  <a:cubicBezTo>
                    <a:pt x="1720069" y="882894"/>
                    <a:pt x="1742790" y="886755"/>
                    <a:pt x="1790700" y="902725"/>
                  </a:cubicBezTo>
                  <a:cubicBezTo>
                    <a:pt x="1778000" y="911192"/>
                    <a:pt x="1755593" y="913158"/>
                    <a:pt x="1752600" y="928125"/>
                  </a:cubicBezTo>
                  <a:cubicBezTo>
                    <a:pt x="1745419" y="964028"/>
                    <a:pt x="1798608" y="973094"/>
                    <a:pt x="1816100" y="978925"/>
                  </a:cubicBezTo>
                  <a:cubicBezTo>
                    <a:pt x="1828800" y="987392"/>
                    <a:pt x="1840548" y="997499"/>
                    <a:pt x="1854200" y="1004325"/>
                  </a:cubicBezTo>
                  <a:cubicBezTo>
                    <a:pt x="1866174" y="1010312"/>
                    <a:pt x="1881161" y="1009599"/>
                    <a:pt x="1892300" y="1017025"/>
                  </a:cubicBezTo>
                  <a:cubicBezTo>
                    <a:pt x="1907244" y="1026988"/>
                    <a:pt x="1917700" y="1042425"/>
                    <a:pt x="1930400" y="1055125"/>
                  </a:cubicBezTo>
                  <a:cubicBezTo>
                    <a:pt x="1807092" y="1096228"/>
                    <a:pt x="2033657" y="1024203"/>
                    <a:pt x="1714500" y="1080525"/>
                  </a:cubicBezTo>
                  <a:cubicBezTo>
                    <a:pt x="1699469" y="1083178"/>
                    <a:pt x="1689100" y="1097458"/>
                    <a:pt x="1676400" y="1105925"/>
                  </a:cubicBezTo>
                  <a:cubicBezTo>
                    <a:pt x="1667933" y="1118625"/>
                    <a:pt x="1655489" y="1129436"/>
                    <a:pt x="1651000" y="1144025"/>
                  </a:cubicBezTo>
                  <a:cubicBezTo>
                    <a:pt x="1638304" y="1185288"/>
                    <a:pt x="1649547" y="1235104"/>
                    <a:pt x="1625600" y="1271025"/>
                  </a:cubicBezTo>
                  <a:cubicBezTo>
                    <a:pt x="1552807" y="1380214"/>
                    <a:pt x="1640080" y="1242065"/>
                    <a:pt x="1587500" y="1347225"/>
                  </a:cubicBezTo>
                  <a:cubicBezTo>
                    <a:pt x="1580674" y="1360877"/>
                    <a:pt x="1570567" y="1372625"/>
                    <a:pt x="1562100" y="1385325"/>
                  </a:cubicBezTo>
                  <a:cubicBezTo>
                    <a:pt x="1547059" y="1580862"/>
                    <a:pt x="1580017" y="1596351"/>
                    <a:pt x="1498600" y="1474225"/>
                  </a:cubicBezTo>
                  <a:cubicBezTo>
                    <a:pt x="1491174" y="1463086"/>
                    <a:pt x="1473200" y="1465758"/>
                    <a:pt x="1460500" y="1461525"/>
                  </a:cubicBezTo>
                  <a:cubicBezTo>
                    <a:pt x="1451228" y="1455344"/>
                    <a:pt x="1401827" y="1417583"/>
                    <a:pt x="1384300" y="1423425"/>
                  </a:cubicBezTo>
                  <a:cubicBezTo>
                    <a:pt x="1367261" y="1429105"/>
                    <a:pt x="1358900" y="1448825"/>
                    <a:pt x="1346200" y="1461525"/>
                  </a:cubicBezTo>
                  <a:cubicBezTo>
                    <a:pt x="1349959" y="1491597"/>
                    <a:pt x="1362445" y="1602703"/>
                    <a:pt x="1371600" y="1639325"/>
                  </a:cubicBezTo>
                  <a:cubicBezTo>
                    <a:pt x="1394274" y="1730022"/>
                    <a:pt x="1428350" y="1723362"/>
                    <a:pt x="1346200" y="1702825"/>
                  </a:cubicBezTo>
                  <a:cubicBezTo>
                    <a:pt x="1285823" y="1662573"/>
                    <a:pt x="1322580" y="1682252"/>
                    <a:pt x="1231900" y="1652025"/>
                  </a:cubicBezTo>
                  <a:lnTo>
                    <a:pt x="1193800" y="1639325"/>
                  </a:lnTo>
                  <a:cubicBezTo>
                    <a:pt x="1149626" y="1573064"/>
                    <a:pt x="1187174" y="1603986"/>
                    <a:pt x="1143000" y="1639325"/>
                  </a:cubicBezTo>
                  <a:cubicBezTo>
                    <a:pt x="1132547" y="1647688"/>
                    <a:pt x="1117600" y="1647792"/>
                    <a:pt x="1104900" y="1652025"/>
                  </a:cubicBezTo>
                  <a:cubicBezTo>
                    <a:pt x="1073912" y="1641696"/>
                    <a:pt x="1053319" y="1638544"/>
                    <a:pt x="1028700" y="1613925"/>
                  </a:cubicBezTo>
                  <a:cubicBezTo>
                    <a:pt x="971255" y="1556480"/>
                    <a:pt x="1039373" y="1587849"/>
                    <a:pt x="965200" y="1563125"/>
                  </a:cubicBezTo>
                  <a:cubicBezTo>
                    <a:pt x="956733" y="1550425"/>
                    <a:pt x="953972" y="1530694"/>
                    <a:pt x="939800" y="1525025"/>
                  </a:cubicBezTo>
                  <a:cubicBezTo>
                    <a:pt x="927371" y="1520053"/>
                    <a:pt x="915087" y="1537725"/>
                    <a:pt x="901700" y="1537725"/>
                  </a:cubicBezTo>
                  <a:cubicBezTo>
                    <a:pt x="875950" y="1537725"/>
                    <a:pt x="850900" y="1529258"/>
                    <a:pt x="825500" y="1525025"/>
                  </a:cubicBezTo>
                  <a:cubicBezTo>
                    <a:pt x="812800" y="1512325"/>
                    <a:pt x="798427" y="1501102"/>
                    <a:pt x="787400" y="1486925"/>
                  </a:cubicBezTo>
                  <a:cubicBezTo>
                    <a:pt x="768658" y="1462828"/>
                    <a:pt x="753533" y="1436125"/>
                    <a:pt x="736600" y="1410725"/>
                  </a:cubicBezTo>
                  <a:cubicBezTo>
                    <a:pt x="728133" y="1398025"/>
                    <a:pt x="721993" y="1383418"/>
                    <a:pt x="711200" y="1372625"/>
                  </a:cubicBezTo>
                  <a:cubicBezTo>
                    <a:pt x="698500" y="1359925"/>
                    <a:pt x="684598" y="1348323"/>
                    <a:pt x="673100" y="1334525"/>
                  </a:cubicBezTo>
                  <a:cubicBezTo>
                    <a:pt x="663329" y="1322799"/>
                    <a:pt x="659187" y="1306476"/>
                    <a:pt x="647700" y="1296425"/>
                  </a:cubicBezTo>
                  <a:cubicBezTo>
                    <a:pt x="624726" y="1276323"/>
                    <a:pt x="596900" y="1262558"/>
                    <a:pt x="571500" y="1245625"/>
                  </a:cubicBezTo>
                  <a:cubicBezTo>
                    <a:pt x="549223" y="1230773"/>
                    <a:pt x="495300" y="1220225"/>
                    <a:pt x="495300" y="1220225"/>
                  </a:cubicBezTo>
                  <a:cubicBezTo>
                    <a:pt x="440312" y="1227099"/>
                    <a:pt x="381000" y="1268240"/>
                    <a:pt x="381000" y="1194825"/>
                  </a:cubicBezTo>
                  <a:cubicBezTo>
                    <a:pt x="381000" y="1188249"/>
                    <a:pt x="400411" y="1116705"/>
                    <a:pt x="406400" y="1105925"/>
                  </a:cubicBezTo>
                  <a:cubicBezTo>
                    <a:pt x="421225" y="1079240"/>
                    <a:pt x="447547" y="1058685"/>
                    <a:pt x="457200" y="1029725"/>
                  </a:cubicBezTo>
                  <a:lnTo>
                    <a:pt x="482600" y="953525"/>
                  </a:lnTo>
                  <a:lnTo>
                    <a:pt x="495300" y="915425"/>
                  </a:lnTo>
                  <a:cubicBezTo>
                    <a:pt x="478367" y="911192"/>
                    <a:pt x="461868" y="900988"/>
                    <a:pt x="444500" y="902725"/>
                  </a:cubicBezTo>
                  <a:cubicBezTo>
                    <a:pt x="417859" y="905389"/>
                    <a:pt x="368300" y="928125"/>
                    <a:pt x="368300" y="928125"/>
                  </a:cubicBezTo>
                  <a:cubicBezTo>
                    <a:pt x="351367" y="923892"/>
                    <a:pt x="333543" y="922301"/>
                    <a:pt x="317500" y="915425"/>
                  </a:cubicBezTo>
                  <a:cubicBezTo>
                    <a:pt x="268111" y="894258"/>
                    <a:pt x="259644" y="860392"/>
                    <a:pt x="228600" y="813825"/>
                  </a:cubicBezTo>
                  <a:cubicBezTo>
                    <a:pt x="195774" y="764586"/>
                    <a:pt x="208027" y="790205"/>
                    <a:pt x="190500" y="737625"/>
                  </a:cubicBezTo>
                  <a:lnTo>
                    <a:pt x="215900" y="661425"/>
                  </a:lnTo>
                  <a:lnTo>
                    <a:pt x="228600" y="623325"/>
                  </a:lnTo>
                  <a:cubicBezTo>
                    <a:pt x="224367" y="606392"/>
                    <a:pt x="229152" y="583884"/>
                    <a:pt x="215900" y="572525"/>
                  </a:cubicBezTo>
                  <a:cubicBezTo>
                    <a:pt x="195572" y="555101"/>
                    <a:pt x="139700" y="547125"/>
                    <a:pt x="139700" y="547125"/>
                  </a:cubicBezTo>
                  <a:cubicBezTo>
                    <a:pt x="112523" y="556184"/>
                    <a:pt x="83775" y="562054"/>
                    <a:pt x="63500" y="585225"/>
                  </a:cubicBezTo>
                  <a:cubicBezTo>
                    <a:pt x="43398" y="608199"/>
                    <a:pt x="12700" y="661425"/>
                    <a:pt x="12700" y="661425"/>
                  </a:cubicBezTo>
                  <a:cubicBezTo>
                    <a:pt x="8467" y="648725"/>
                    <a:pt x="0" y="636712"/>
                    <a:pt x="0" y="623325"/>
                  </a:cubicBezTo>
                  <a:cubicBezTo>
                    <a:pt x="0" y="587423"/>
                    <a:pt x="28139" y="513507"/>
                    <a:pt x="38100" y="483625"/>
                  </a:cubicBezTo>
                  <a:cubicBezTo>
                    <a:pt x="42927" y="469145"/>
                    <a:pt x="55647" y="458613"/>
                    <a:pt x="63500" y="445525"/>
                  </a:cubicBezTo>
                  <a:cubicBezTo>
                    <a:pt x="68370" y="437408"/>
                    <a:pt x="71967" y="428592"/>
                    <a:pt x="76200" y="420125"/>
                  </a:cubicBezTo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1746538189" name="Freeform 412"/>
            <p:cNvSpPr/>
            <p:nvPr/>
          </p:nvSpPr>
          <p:spPr bwMode="auto">
            <a:xfrm>
              <a:off x="2718756" y="1410051"/>
              <a:ext cx="54946" cy="47472"/>
            </a:xfrm>
            <a:custGeom>
              <a:avLst/>
              <a:gdLst>
                <a:gd name="connsiteX0" fmla="*/ 2778 w 82424"/>
                <a:gd name="connsiteY0" fmla="*/ 70018 h 71209"/>
                <a:gd name="connsiteX1" fmla="*/ 5159 w 82424"/>
                <a:gd name="connsiteY1" fmla="*/ 58111 h 71209"/>
                <a:gd name="connsiteX2" fmla="*/ 7541 w 82424"/>
                <a:gd name="connsiteY2" fmla="*/ 50968 h 71209"/>
                <a:gd name="connsiteX3" fmla="*/ 9922 w 82424"/>
                <a:gd name="connsiteY3" fmla="*/ 39061 h 71209"/>
                <a:gd name="connsiteX4" fmla="*/ 19447 w 82424"/>
                <a:gd name="connsiteY4" fmla="*/ 24774 h 71209"/>
                <a:gd name="connsiteX5" fmla="*/ 31353 w 82424"/>
                <a:gd name="connsiteY5" fmla="*/ 15249 h 71209"/>
                <a:gd name="connsiteX6" fmla="*/ 52784 w 82424"/>
                <a:gd name="connsiteY6" fmla="*/ 3343 h 71209"/>
                <a:gd name="connsiteX7" fmla="*/ 78978 w 82424"/>
                <a:gd name="connsiteY7" fmla="*/ 12868 h 71209"/>
                <a:gd name="connsiteX8" fmla="*/ 81359 w 82424"/>
                <a:gd name="connsiteY8" fmla="*/ 20011 h 71209"/>
                <a:gd name="connsiteX9" fmla="*/ 78978 w 82424"/>
                <a:gd name="connsiteY9" fmla="*/ 36680 h 71209"/>
                <a:gd name="connsiteX10" fmla="*/ 50403 w 82424"/>
                <a:gd name="connsiteY10" fmla="*/ 43824 h 71209"/>
                <a:gd name="connsiteX11" fmla="*/ 40878 w 82424"/>
                <a:gd name="connsiteY11" fmla="*/ 46205 h 71209"/>
                <a:gd name="connsiteX12" fmla="*/ 21828 w 82424"/>
                <a:gd name="connsiteY12" fmla="*/ 50968 h 71209"/>
                <a:gd name="connsiteX13" fmla="*/ 2778 w 82424"/>
                <a:gd name="connsiteY13" fmla="*/ 70018 h 71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2424" h="71209" extrusionOk="0">
                  <a:moveTo>
                    <a:pt x="2778" y="70018"/>
                  </a:moveTo>
                  <a:cubicBezTo>
                    <a:pt x="0" y="71209"/>
                    <a:pt x="4177" y="62038"/>
                    <a:pt x="5159" y="58111"/>
                  </a:cubicBezTo>
                  <a:cubicBezTo>
                    <a:pt x="5768" y="55676"/>
                    <a:pt x="6932" y="53403"/>
                    <a:pt x="7541" y="50968"/>
                  </a:cubicBezTo>
                  <a:cubicBezTo>
                    <a:pt x="8523" y="47041"/>
                    <a:pt x="8247" y="42746"/>
                    <a:pt x="9922" y="39061"/>
                  </a:cubicBezTo>
                  <a:cubicBezTo>
                    <a:pt x="12290" y="33850"/>
                    <a:pt x="16272" y="29536"/>
                    <a:pt x="19447" y="24774"/>
                  </a:cubicBezTo>
                  <a:cubicBezTo>
                    <a:pt x="25602" y="15541"/>
                    <a:pt x="21493" y="18535"/>
                    <a:pt x="31353" y="15249"/>
                  </a:cubicBezTo>
                  <a:cubicBezTo>
                    <a:pt x="47729" y="4332"/>
                    <a:pt x="40211" y="7534"/>
                    <a:pt x="52784" y="3343"/>
                  </a:cubicBezTo>
                  <a:cubicBezTo>
                    <a:pt x="71245" y="5394"/>
                    <a:pt x="72545" y="0"/>
                    <a:pt x="78978" y="12868"/>
                  </a:cubicBezTo>
                  <a:cubicBezTo>
                    <a:pt x="80100" y="15113"/>
                    <a:pt x="80565" y="17630"/>
                    <a:pt x="81359" y="20011"/>
                  </a:cubicBezTo>
                  <a:cubicBezTo>
                    <a:pt x="80565" y="25567"/>
                    <a:pt x="82424" y="32249"/>
                    <a:pt x="78978" y="36680"/>
                  </a:cubicBezTo>
                  <a:cubicBezTo>
                    <a:pt x="76046" y="40450"/>
                    <a:pt x="54316" y="43042"/>
                    <a:pt x="50403" y="43824"/>
                  </a:cubicBezTo>
                  <a:cubicBezTo>
                    <a:pt x="47194" y="44466"/>
                    <a:pt x="44073" y="45495"/>
                    <a:pt x="40878" y="46205"/>
                  </a:cubicBezTo>
                  <a:cubicBezTo>
                    <a:pt x="37354" y="46988"/>
                    <a:pt x="26086" y="48602"/>
                    <a:pt x="21828" y="50968"/>
                  </a:cubicBezTo>
                  <a:cubicBezTo>
                    <a:pt x="9713" y="57699"/>
                    <a:pt x="5556" y="68827"/>
                    <a:pt x="2778" y="70018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</p:grpSp>
      <p:grpSp>
        <p:nvGrpSpPr>
          <p:cNvPr id="321545786" name="Group 453"/>
          <p:cNvGrpSpPr/>
          <p:nvPr/>
        </p:nvGrpSpPr>
        <p:grpSpPr bwMode="auto">
          <a:xfrm>
            <a:off x="6275680" y="1819544"/>
            <a:ext cx="390946" cy="395770"/>
            <a:chOff x="9215437" y="3952874"/>
            <a:chExt cx="593724" cy="593724"/>
          </a:xfrm>
          <a:solidFill>
            <a:srgbClr val="000000"/>
          </a:solidFill>
        </p:grpSpPr>
        <p:sp>
          <p:nvSpPr>
            <p:cNvPr id="1697212208" name="Freeform 74"/>
            <p:cNvSpPr>
              <a:spLocks noEditPoints="1"/>
            </p:cNvSpPr>
            <p:nvPr/>
          </p:nvSpPr>
          <p:spPr bwMode="auto">
            <a:xfrm>
              <a:off x="9215437" y="4203699"/>
              <a:ext cx="320674" cy="342900"/>
            </a:xfrm>
            <a:custGeom>
              <a:avLst/>
              <a:gdLst>
                <a:gd name="T0" fmla="*/ 3901 w 4600"/>
                <a:gd name="T1" fmla="*/ 4601 h 4934"/>
                <a:gd name="T2" fmla="*/ 3956 w 4600"/>
                <a:gd name="T3" fmla="*/ 3238 h 4934"/>
                <a:gd name="T4" fmla="*/ 4267 w 4600"/>
                <a:gd name="T5" fmla="*/ 4601 h 4934"/>
                <a:gd name="T6" fmla="*/ 1026 w 4600"/>
                <a:gd name="T7" fmla="*/ 3159 h 4934"/>
                <a:gd name="T8" fmla="*/ 1299 w 4600"/>
                <a:gd name="T9" fmla="*/ 3503 h 4934"/>
                <a:gd name="T10" fmla="*/ 2791 w 4600"/>
                <a:gd name="T11" fmla="*/ 4007 h 4934"/>
                <a:gd name="T12" fmla="*/ 3295 w 4600"/>
                <a:gd name="T13" fmla="*/ 3100 h 4934"/>
                <a:gd name="T14" fmla="*/ 3568 w 4600"/>
                <a:gd name="T15" fmla="*/ 4601 h 4934"/>
                <a:gd name="T16" fmla="*/ 333 w 4600"/>
                <a:gd name="T17" fmla="*/ 3619 h 4934"/>
                <a:gd name="T18" fmla="*/ 693 w 4600"/>
                <a:gd name="T19" fmla="*/ 3228 h 4934"/>
                <a:gd name="T20" fmla="*/ 333 w 4600"/>
                <a:gd name="T21" fmla="*/ 4601 h 4934"/>
                <a:gd name="T22" fmla="*/ 1970 w 4600"/>
                <a:gd name="T23" fmla="*/ 2692 h 4934"/>
                <a:gd name="T24" fmla="*/ 2635 w 4600"/>
                <a:gd name="T25" fmla="*/ 2692 h 4934"/>
                <a:gd name="T26" fmla="*/ 2962 w 4600"/>
                <a:gd name="T27" fmla="*/ 3503 h 4934"/>
                <a:gd name="T28" fmla="*/ 1803 w 4600"/>
                <a:gd name="T29" fmla="*/ 3673 h 4934"/>
                <a:gd name="T30" fmla="*/ 1632 w 4600"/>
                <a:gd name="T31" fmla="*/ 3033 h 4934"/>
                <a:gd name="T32" fmla="*/ 1970 w 4600"/>
                <a:gd name="T33" fmla="*/ 2692 h 4934"/>
                <a:gd name="T34" fmla="*/ 2964 w 4600"/>
                <a:gd name="T35" fmla="*/ 1374 h 4934"/>
                <a:gd name="T36" fmla="*/ 2303 w 4600"/>
                <a:gd name="T37" fmla="*/ 2416 h 4934"/>
                <a:gd name="T38" fmla="*/ 1641 w 4600"/>
                <a:gd name="T39" fmla="*/ 1374 h 4934"/>
                <a:gd name="T40" fmla="*/ 1810 w 4600"/>
                <a:gd name="T41" fmla="*/ 333 h 4934"/>
                <a:gd name="T42" fmla="*/ 2300 w 4600"/>
                <a:gd name="T43" fmla="*/ 536 h 4934"/>
                <a:gd name="T44" fmla="*/ 2789 w 4600"/>
                <a:gd name="T45" fmla="*/ 333 h 4934"/>
                <a:gd name="T46" fmla="*/ 2931 w 4600"/>
                <a:gd name="T47" fmla="*/ 469 h 4934"/>
                <a:gd name="T48" fmla="*/ 1675 w 4600"/>
                <a:gd name="T49" fmla="*/ 1040 h 4934"/>
                <a:gd name="T50" fmla="*/ 4024 w 4600"/>
                <a:gd name="T51" fmla="*/ 2911 h 4934"/>
                <a:gd name="T52" fmla="*/ 2960 w 4600"/>
                <a:gd name="T53" fmla="*/ 2610 h 4934"/>
                <a:gd name="T54" fmla="*/ 3297 w 4600"/>
                <a:gd name="T55" fmla="*/ 1755 h 4934"/>
                <a:gd name="T56" fmla="*/ 3544 w 4600"/>
                <a:gd name="T57" fmla="*/ 1374 h 4934"/>
                <a:gd name="T58" fmla="*/ 3544 w 4600"/>
                <a:gd name="T59" fmla="*/ 1040 h 4934"/>
                <a:gd name="T60" fmla="*/ 3264 w 4600"/>
                <a:gd name="T61" fmla="*/ 469 h 4934"/>
                <a:gd name="T62" fmla="*/ 2789 w 4600"/>
                <a:gd name="T63" fmla="*/ 0 h 4934"/>
                <a:gd name="T64" fmla="*/ 2458 w 4600"/>
                <a:gd name="T65" fmla="*/ 137 h 4934"/>
                <a:gd name="T66" fmla="*/ 2142 w 4600"/>
                <a:gd name="T67" fmla="*/ 137 h 4934"/>
                <a:gd name="T68" fmla="*/ 1341 w 4600"/>
                <a:gd name="T69" fmla="*/ 469 h 4934"/>
                <a:gd name="T70" fmla="*/ 1056 w 4600"/>
                <a:gd name="T71" fmla="*/ 1040 h 4934"/>
                <a:gd name="T72" fmla="*/ 1056 w 4600"/>
                <a:gd name="T73" fmla="*/ 1374 h 4934"/>
                <a:gd name="T74" fmla="*/ 1308 w 4600"/>
                <a:gd name="T75" fmla="*/ 1755 h 4934"/>
                <a:gd name="T76" fmla="*/ 1645 w 4600"/>
                <a:gd name="T77" fmla="*/ 2610 h 4934"/>
                <a:gd name="T78" fmla="*/ 576 w 4600"/>
                <a:gd name="T79" fmla="*/ 2911 h 4934"/>
                <a:gd name="T80" fmla="*/ 0 w 4600"/>
                <a:gd name="T81" fmla="*/ 4768 h 4934"/>
                <a:gd name="T82" fmla="*/ 859 w 4600"/>
                <a:gd name="T83" fmla="*/ 4934 h 4934"/>
                <a:gd name="T84" fmla="*/ 4433 w 4600"/>
                <a:gd name="T85" fmla="*/ 4934 h 4934"/>
                <a:gd name="T86" fmla="*/ 4600 w 4600"/>
                <a:gd name="T87" fmla="*/ 3619 h 4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600" h="4934" extrusionOk="0">
                  <a:moveTo>
                    <a:pt x="4267" y="4601"/>
                  </a:moveTo>
                  <a:lnTo>
                    <a:pt x="3901" y="4601"/>
                  </a:lnTo>
                  <a:lnTo>
                    <a:pt x="3901" y="3226"/>
                  </a:lnTo>
                  <a:lnTo>
                    <a:pt x="3956" y="3238"/>
                  </a:lnTo>
                  <a:cubicBezTo>
                    <a:pt x="4136" y="3275"/>
                    <a:pt x="4267" y="3435"/>
                    <a:pt x="4267" y="3619"/>
                  </a:cubicBezTo>
                  <a:lnTo>
                    <a:pt x="4267" y="4601"/>
                  </a:lnTo>
                  <a:close/>
                  <a:moveTo>
                    <a:pt x="1026" y="4601"/>
                  </a:moveTo>
                  <a:lnTo>
                    <a:pt x="1026" y="3159"/>
                  </a:lnTo>
                  <a:lnTo>
                    <a:pt x="1299" y="3102"/>
                  </a:lnTo>
                  <a:lnTo>
                    <a:pt x="1299" y="3503"/>
                  </a:lnTo>
                  <a:cubicBezTo>
                    <a:pt x="1299" y="3781"/>
                    <a:pt x="1525" y="4007"/>
                    <a:pt x="1803" y="4007"/>
                  </a:cubicBezTo>
                  <a:lnTo>
                    <a:pt x="2791" y="4007"/>
                  </a:lnTo>
                  <a:cubicBezTo>
                    <a:pt x="3069" y="4007"/>
                    <a:pt x="3295" y="3781"/>
                    <a:pt x="3295" y="3503"/>
                  </a:cubicBezTo>
                  <a:lnTo>
                    <a:pt x="3295" y="3100"/>
                  </a:lnTo>
                  <a:lnTo>
                    <a:pt x="3568" y="3157"/>
                  </a:lnTo>
                  <a:lnTo>
                    <a:pt x="3568" y="4601"/>
                  </a:lnTo>
                  <a:lnTo>
                    <a:pt x="1026" y="4601"/>
                  </a:lnTo>
                  <a:close/>
                  <a:moveTo>
                    <a:pt x="333" y="3619"/>
                  </a:moveTo>
                  <a:cubicBezTo>
                    <a:pt x="333" y="3435"/>
                    <a:pt x="464" y="3275"/>
                    <a:pt x="644" y="3238"/>
                  </a:cubicBezTo>
                  <a:lnTo>
                    <a:pt x="693" y="3228"/>
                  </a:lnTo>
                  <a:lnTo>
                    <a:pt x="693" y="4601"/>
                  </a:lnTo>
                  <a:lnTo>
                    <a:pt x="333" y="4601"/>
                  </a:lnTo>
                  <a:lnTo>
                    <a:pt x="333" y="3619"/>
                  </a:lnTo>
                  <a:close/>
                  <a:moveTo>
                    <a:pt x="1970" y="2692"/>
                  </a:moveTo>
                  <a:cubicBezTo>
                    <a:pt x="2074" y="2729"/>
                    <a:pt x="2186" y="2749"/>
                    <a:pt x="2303" y="2749"/>
                  </a:cubicBezTo>
                  <a:cubicBezTo>
                    <a:pt x="2419" y="2749"/>
                    <a:pt x="2531" y="2729"/>
                    <a:pt x="2635" y="2692"/>
                  </a:cubicBezTo>
                  <a:cubicBezTo>
                    <a:pt x="2667" y="2857"/>
                    <a:pt x="2794" y="2992"/>
                    <a:pt x="2962" y="3031"/>
                  </a:cubicBezTo>
                  <a:lnTo>
                    <a:pt x="2962" y="3503"/>
                  </a:lnTo>
                  <a:cubicBezTo>
                    <a:pt x="2962" y="3597"/>
                    <a:pt x="2885" y="3673"/>
                    <a:pt x="2791" y="3673"/>
                  </a:cubicBezTo>
                  <a:lnTo>
                    <a:pt x="1803" y="3673"/>
                  </a:lnTo>
                  <a:cubicBezTo>
                    <a:pt x="1709" y="3673"/>
                    <a:pt x="1632" y="3597"/>
                    <a:pt x="1632" y="3503"/>
                  </a:cubicBezTo>
                  <a:lnTo>
                    <a:pt x="1632" y="3033"/>
                  </a:lnTo>
                  <a:lnTo>
                    <a:pt x="1634" y="3033"/>
                  </a:lnTo>
                  <a:cubicBezTo>
                    <a:pt x="1807" y="2997"/>
                    <a:pt x="1938" y="2860"/>
                    <a:pt x="1970" y="2692"/>
                  </a:cubicBezTo>
                  <a:close/>
                  <a:moveTo>
                    <a:pt x="1641" y="1374"/>
                  </a:moveTo>
                  <a:lnTo>
                    <a:pt x="2964" y="1374"/>
                  </a:lnTo>
                  <a:lnTo>
                    <a:pt x="2964" y="1755"/>
                  </a:lnTo>
                  <a:cubicBezTo>
                    <a:pt x="2964" y="2119"/>
                    <a:pt x="2667" y="2416"/>
                    <a:pt x="2303" y="2416"/>
                  </a:cubicBezTo>
                  <a:cubicBezTo>
                    <a:pt x="1938" y="2416"/>
                    <a:pt x="1641" y="2119"/>
                    <a:pt x="1641" y="1755"/>
                  </a:cubicBezTo>
                  <a:lnTo>
                    <a:pt x="1641" y="1374"/>
                  </a:lnTo>
                  <a:close/>
                  <a:moveTo>
                    <a:pt x="1675" y="469"/>
                  </a:moveTo>
                  <a:cubicBezTo>
                    <a:pt x="1675" y="394"/>
                    <a:pt x="1735" y="333"/>
                    <a:pt x="1810" y="333"/>
                  </a:cubicBezTo>
                  <a:cubicBezTo>
                    <a:pt x="1846" y="333"/>
                    <a:pt x="1881" y="347"/>
                    <a:pt x="1906" y="373"/>
                  </a:cubicBezTo>
                  <a:cubicBezTo>
                    <a:pt x="2011" y="478"/>
                    <a:pt x="2151" y="536"/>
                    <a:pt x="2300" y="536"/>
                  </a:cubicBezTo>
                  <a:cubicBezTo>
                    <a:pt x="2448" y="536"/>
                    <a:pt x="2588" y="478"/>
                    <a:pt x="2693" y="373"/>
                  </a:cubicBezTo>
                  <a:cubicBezTo>
                    <a:pt x="2719" y="347"/>
                    <a:pt x="2753" y="333"/>
                    <a:pt x="2789" y="333"/>
                  </a:cubicBezTo>
                  <a:lnTo>
                    <a:pt x="2795" y="333"/>
                  </a:lnTo>
                  <a:cubicBezTo>
                    <a:pt x="2870" y="333"/>
                    <a:pt x="2931" y="394"/>
                    <a:pt x="2931" y="469"/>
                  </a:cubicBezTo>
                  <a:lnTo>
                    <a:pt x="2931" y="1040"/>
                  </a:lnTo>
                  <a:lnTo>
                    <a:pt x="1675" y="1040"/>
                  </a:lnTo>
                  <a:lnTo>
                    <a:pt x="1675" y="469"/>
                  </a:lnTo>
                  <a:close/>
                  <a:moveTo>
                    <a:pt x="4024" y="2911"/>
                  </a:moveTo>
                  <a:lnTo>
                    <a:pt x="3038" y="2706"/>
                  </a:lnTo>
                  <a:cubicBezTo>
                    <a:pt x="2993" y="2697"/>
                    <a:pt x="2960" y="2656"/>
                    <a:pt x="2960" y="2610"/>
                  </a:cubicBezTo>
                  <a:lnTo>
                    <a:pt x="2960" y="2500"/>
                  </a:lnTo>
                  <a:cubicBezTo>
                    <a:pt x="3167" y="2318"/>
                    <a:pt x="3297" y="2051"/>
                    <a:pt x="3297" y="1755"/>
                  </a:cubicBezTo>
                  <a:lnTo>
                    <a:pt x="3297" y="1374"/>
                  </a:lnTo>
                  <a:lnTo>
                    <a:pt x="3544" y="1374"/>
                  </a:lnTo>
                  <a:cubicBezTo>
                    <a:pt x="3636" y="1374"/>
                    <a:pt x="3711" y="1299"/>
                    <a:pt x="3711" y="1207"/>
                  </a:cubicBezTo>
                  <a:cubicBezTo>
                    <a:pt x="3711" y="1115"/>
                    <a:pt x="3636" y="1040"/>
                    <a:pt x="3544" y="1040"/>
                  </a:cubicBezTo>
                  <a:lnTo>
                    <a:pt x="3264" y="1040"/>
                  </a:lnTo>
                  <a:lnTo>
                    <a:pt x="3264" y="469"/>
                  </a:lnTo>
                  <a:cubicBezTo>
                    <a:pt x="3264" y="210"/>
                    <a:pt x="3054" y="0"/>
                    <a:pt x="2795" y="0"/>
                  </a:cubicBezTo>
                  <a:lnTo>
                    <a:pt x="2789" y="0"/>
                  </a:lnTo>
                  <a:cubicBezTo>
                    <a:pt x="2664" y="0"/>
                    <a:pt x="2546" y="48"/>
                    <a:pt x="2458" y="137"/>
                  </a:cubicBezTo>
                  <a:cubicBezTo>
                    <a:pt x="2458" y="137"/>
                    <a:pt x="2458" y="137"/>
                    <a:pt x="2458" y="137"/>
                  </a:cubicBezTo>
                  <a:cubicBezTo>
                    <a:pt x="2415" y="179"/>
                    <a:pt x="2359" y="202"/>
                    <a:pt x="2300" y="202"/>
                  </a:cubicBezTo>
                  <a:cubicBezTo>
                    <a:pt x="2240" y="202"/>
                    <a:pt x="2184" y="179"/>
                    <a:pt x="2142" y="137"/>
                  </a:cubicBezTo>
                  <a:cubicBezTo>
                    <a:pt x="2053" y="48"/>
                    <a:pt x="1936" y="0"/>
                    <a:pt x="1810" y="0"/>
                  </a:cubicBezTo>
                  <a:cubicBezTo>
                    <a:pt x="1552" y="0"/>
                    <a:pt x="1341" y="210"/>
                    <a:pt x="1341" y="469"/>
                  </a:cubicBezTo>
                  <a:lnTo>
                    <a:pt x="1341" y="1040"/>
                  </a:lnTo>
                  <a:lnTo>
                    <a:pt x="1056" y="1040"/>
                  </a:lnTo>
                  <a:cubicBezTo>
                    <a:pt x="964" y="1040"/>
                    <a:pt x="889" y="1115"/>
                    <a:pt x="889" y="1207"/>
                  </a:cubicBezTo>
                  <a:cubicBezTo>
                    <a:pt x="889" y="1299"/>
                    <a:pt x="964" y="1374"/>
                    <a:pt x="1056" y="1374"/>
                  </a:cubicBezTo>
                  <a:lnTo>
                    <a:pt x="1308" y="1374"/>
                  </a:lnTo>
                  <a:lnTo>
                    <a:pt x="1308" y="1755"/>
                  </a:lnTo>
                  <a:cubicBezTo>
                    <a:pt x="1308" y="2051"/>
                    <a:pt x="1439" y="2318"/>
                    <a:pt x="1645" y="2500"/>
                  </a:cubicBezTo>
                  <a:lnTo>
                    <a:pt x="1645" y="2610"/>
                  </a:lnTo>
                  <a:cubicBezTo>
                    <a:pt x="1645" y="2656"/>
                    <a:pt x="1612" y="2697"/>
                    <a:pt x="1567" y="2706"/>
                  </a:cubicBezTo>
                  <a:lnTo>
                    <a:pt x="576" y="2911"/>
                  </a:lnTo>
                  <a:cubicBezTo>
                    <a:pt x="242" y="2981"/>
                    <a:pt x="0" y="3278"/>
                    <a:pt x="0" y="3619"/>
                  </a:cubicBezTo>
                  <a:lnTo>
                    <a:pt x="0" y="4768"/>
                  </a:lnTo>
                  <a:cubicBezTo>
                    <a:pt x="0" y="4860"/>
                    <a:pt x="75" y="4934"/>
                    <a:pt x="167" y="4934"/>
                  </a:cubicBezTo>
                  <a:lnTo>
                    <a:pt x="859" y="4934"/>
                  </a:lnTo>
                  <a:lnTo>
                    <a:pt x="3735" y="4934"/>
                  </a:lnTo>
                  <a:lnTo>
                    <a:pt x="4433" y="4934"/>
                  </a:lnTo>
                  <a:cubicBezTo>
                    <a:pt x="4525" y="4934"/>
                    <a:pt x="4600" y="4860"/>
                    <a:pt x="4600" y="4768"/>
                  </a:cubicBezTo>
                  <a:lnTo>
                    <a:pt x="4600" y="3619"/>
                  </a:lnTo>
                  <a:cubicBezTo>
                    <a:pt x="4600" y="3278"/>
                    <a:pt x="4358" y="2981"/>
                    <a:pt x="4024" y="29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080395489" name="Freeform 75"/>
            <p:cNvSpPr>
              <a:spLocks noEditPoints="1"/>
            </p:cNvSpPr>
            <p:nvPr/>
          </p:nvSpPr>
          <p:spPr bwMode="auto">
            <a:xfrm>
              <a:off x="9488487" y="3952874"/>
              <a:ext cx="320674" cy="342900"/>
            </a:xfrm>
            <a:custGeom>
              <a:avLst/>
              <a:gdLst>
                <a:gd name="T0" fmla="*/ 3902 w 4600"/>
                <a:gd name="T1" fmla="*/ 4601 h 4935"/>
                <a:gd name="T2" fmla="*/ 3957 w 4600"/>
                <a:gd name="T3" fmla="*/ 3238 h 4935"/>
                <a:gd name="T4" fmla="*/ 4267 w 4600"/>
                <a:gd name="T5" fmla="*/ 4601 h 4935"/>
                <a:gd name="T6" fmla="*/ 1026 w 4600"/>
                <a:gd name="T7" fmla="*/ 3159 h 4935"/>
                <a:gd name="T8" fmla="*/ 1299 w 4600"/>
                <a:gd name="T9" fmla="*/ 3503 h 4935"/>
                <a:gd name="T10" fmla="*/ 2791 w 4600"/>
                <a:gd name="T11" fmla="*/ 4007 h 4935"/>
                <a:gd name="T12" fmla="*/ 3295 w 4600"/>
                <a:gd name="T13" fmla="*/ 3101 h 4935"/>
                <a:gd name="T14" fmla="*/ 3568 w 4600"/>
                <a:gd name="T15" fmla="*/ 4601 h 4935"/>
                <a:gd name="T16" fmla="*/ 334 w 4600"/>
                <a:gd name="T17" fmla="*/ 3620 h 4935"/>
                <a:gd name="T18" fmla="*/ 693 w 4600"/>
                <a:gd name="T19" fmla="*/ 3228 h 4935"/>
                <a:gd name="T20" fmla="*/ 334 w 4600"/>
                <a:gd name="T21" fmla="*/ 4601 h 4935"/>
                <a:gd name="T22" fmla="*/ 1971 w 4600"/>
                <a:gd name="T23" fmla="*/ 2692 h 4935"/>
                <a:gd name="T24" fmla="*/ 2635 w 4600"/>
                <a:gd name="T25" fmla="*/ 2692 h 4935"/>
                <a:gd name="T26" fmla="*/ 2962 w 4600"/>
                <a:gd name="T27" fmla="*/ 3503 h 4935"/>
                <a:gd name="T28" fmla="*/ 1803 w 4600"/>
                <a:gd name="T29" fmla="*/ 3674 h 4935"/>
                <a:gd name="T30" fmla="*/ 1633 w 4600"/>
                <a:gd name="T31" fmla="*/ 3034 h 4935"/>
                <a:gd name="T32" fmla="*/ 1971 w 4600"/>
                <a:gd name="T33" fmla="*/ 2692 h 4935"/>
                <a:gd name="T34" fmla="*/ 2964 w 4600"/>
                <a:gd name="T35" fmla="*/ 1374 h 4935"/>
                <a:gd name="T36" fmla="*/ 2303 w 4600"/>
                <a:gd name="T37" fmla="*/ 2416 h 4935"/>
                <a:gd name="T38" fmla="*/ 1642 w 4600"/>
                <a:gd name="T39" fmla="*/ 1374 h 4935"/>
                <a:gd name="T40" fmla="*/ 1811 w 4600"/>
                <a:gd name="T41" fmla="*/ 333 h 4935"/>
                <a:gd name="T42" fmla="*/ 2694 w 4600"/>
                <a:gd name="T43" fmla="*/ 373 h 4935"/>
                <a:gd name="T44" fmla="*/ 2790 w 4600"/>
                <a:gd name="T45" fmla="*/ 333 h 4935"/>
                <a:gd name="T46" fmla="*/ 2931 w 4600"/>
                <a:gd name="T47" fmla="*/ 469 h 4935"/>
                <a:gd name="T48" fmla="*/ 1675 w 4600"/>
                <a:gd name="T49" fmla="*/ 1041 h 4935"/>
                <a:gd name="T50" fmla="*/ 4025 w 4600"/>
                <a:gd name="T51" fmla="*/ 2912 h 4935"/>
                <a:gd name="T52" fmla="*/ 2960 w 4600"/>
                <a:gd name="T53" fmla="*/ 2610 h 4935"/>
                <a:gd name="T54" fmla="*/ 3298 w 4600"/>
                <a:gd name="T55" fmla="*/ 1755 h 4935"/>
                <a:gd name="T56" fmla="*/ 3544 w 4600"/>
                <a:gd name="T57" fmla="*/ 1374 h 4935"/>
                <a:gd name="T58" fmla="*/ 3544 w 4600"/>
                <a:gd name="T59" fmla="*/ 1041 h 4935"/>
                <a:gd name="T60" fmla="*/ 3265 w 4600"/>
                <a:gd name="T61" fmla="*/ 469 h 4935"/>
                <a:gd name="T62" fmla="*/ 2790 w 4600"/>
                <a:gd name="T63" fmla="*/ 0 h 4935"/>
                <a:gd name="T64" fmla="*/ 2142 w 4600"/>
                <a:gd name="T65" fmla="*/ 137 h 4935"/>
                <a:gd name="T66" fmla="*/ 1342 w 4600"/>
                <a:gd name="T67" fmla="*/ 469 h 4935"/>
                <a:gd name="T68" fmla="*/ 1056 w 4600"/>
                <a:gd name="T69" fmla="*/ 1041 h 4935"/>
                <a:gd name="T70" fmla="*/ 1056 w 4600"/>
                <a:gd name="T71" fmla="*/ 1374 h 4935"/>
                <a:gd name="T72" fmla="*/ 1308 w 4600"/>
                <a:gd name="T73" fmla="*/ 1755 h 4935"/>
                <a:gd name="T74" fmla="*/ 1646 w 4600"/>
                <a:gd name="T75" fmla="*/ 2610 h 4935"/>
                <a:gd name="T76" fmla="*/ 577 w 4600"/>
                <a:gd name="T77" fmla="*/ 2912 h 4935"/>
                <a:gd name="T78" fmla="*/ 0 w 4600"/>
                <a:gd name="T79" fmla="*/ 4768 h 4935"/>
                <a:gd name="T80" fmla="*/ 860 w 4600"/>
                <a:gd name="T81" fmla="*/ 4935 h 4935"/>
                <a:gd name="T82" fmla="*/ 4434 w 4600"/>
                <a:gd name="T83" fmla="*/ 4935 h 4935"/>
                <a:gd name="T84" fmla="*/ 4600 w 4600"/>
                <a:gd name="T85" fmla="*/ 3619 h 49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600" h="4935" extrusionOk="0">
                  <a:moveTo>
                    <a:pt x="4267" y="4601"/>
                  </a:moveTo>
                  <a:lnTo>
                    <a:pt x="3902" y="4601"/>
                  </a:lnTo>
                  <a:lnTo>
                    <a:pt x="3902" y="3226"/>
                  </a:lnTo>
                  <a:lnTo>
                    <a:pt x="3957" y="3238"/>
                  </a:lnTo>
                  <a:cubicBezTo>
                    <a:pt x="4137" y="3275"/>
                    <a:pt x="4267" y="3436"/>
                    <a:pt x="4267" y="3619"/>
                  </a:cubicBezTo>
                  <a:lnTo>
                    <a:pt x="4267" y="4601"/>
                  </a:lnTo>
                  <a:close/>
                  <a:moveTo>
                    <a:pt x="1026" y="4601"/>
                  </a:moveTo>
                  <a:lnTo>
                    <a:pt x="1026" y="3159"/>
                  </a:lnTo>
                  <a:lnTo>
                    <a:pt x="1299" y="3103"/>
                  </a:lnTo>
                  <a:lnTo>
                    <a:pt x="1299" y="3503"/>
                  </a:lnTo>
                  <a:cubicBezTo>
                    <a:pt x="1299" y="3781"/>
                    <a:pt x="1525" y="4007"/>
                    <a:pt x="1803" y="4007"/>
                  </a:cubicBezTo>
                  <a:lnTo>
                    <a:pt x="2791" y="4007"/>
                  </a:lnTo>
                  <a:cubicBezTo>
                    <a:pt x="3069" y="4007"/>
                    <a:pt x="3295" y="3781"/>
                    <a:pt x="3295" y="3503"/>
                  </a:cubicBezTo>
                  <a:lnTo>
                    <a:pt x="3295" y="3101"/>
                  </a:lnTo>
                  <a:lnTo>
                    <a:pt x="3568" y="3157"/>
                  </a:lnTo>
                  <a:lnTo>
                    <a:pt x="3568" y="4601"/>
                  </a:lnTo>
                  <a:lnTo>
                    <a:pt x="1026" y="4601"/>
                  </a:lnTo>
                  <a:close/>
                  <a:moveTo>
                    <a:pt x="334" y="3620"/>
                  </a:moveTo>
                  <a:cubicBezTo>
                    <a:pt x="334" y="3436"/>
                    <a:pt x="464" y="3275"/>
                    <a:pt x="644" y="3238"/>
                  </a:cubicBezTo>
                  <a:lnTo>
                    <a:pt x="693" y="3228"/>
                  </a:lnTo>
                  <a:lnTo>
                    <a:pt x="693" y="4601"/>
                  </a:lnTo>
                  <a:lnTo>
                    <a:pt x="334" y="4601"/>
                  </a:lnTo>
                  <a:lnTo>
                    <a:pt x="334" y="3620"/>
                  </a:lnTo>
                  <a:close/>
                  <a:moveTo>
                    <a:pt x="1971" y="2692"/>
                  </a:moveTo>
                  <a:cubicBezTo>
                    <a:pt x="2075" y="2729"/>
                    <a:pt x="2187" y="2750"/>
                    <a:pt x="2303" y="2750"/>
                  </a:cubicBezTo>
                  <a:cubicBezTo>
                    <a:pt x="2419" y="2750"/>
                    <a:pt x="2531" y="2729"/>
                    <a:pt x="2635" y="2692"/>
                  </a:cubicBezTo>
                  <a:cubicBezTo>
                    <a:pt x="2667" y="2857"/>
                    <a:pt x="2795" y="2992"/>
                    <a:pt x="2962" y="3031"/>
                  </a:cubicBezTo>
                  <a:lnTo>
                    <a:pt x="2962" y="3503"/>
                  </a:lnTo>
                  <a:cubicBezTo>
                    <a:pt x="2962" y="3597"/>
                    <a:pt x="2885" y="3674"/>
                    <a:pt x="2791" y="3674"/>
                  </a:cubicBezTo>
                  <a:lnTo>
                    <a:pt x="1803" y="3674"/>
                  </a:lnTo>
                  <a:cubicBezTo>
                    <a:pt x="1709" y="3674"/>
                    <a:pt x="1633" y="3597"/>
                    <a:pt x="1633" y="3503"/>
                  </a:cubicBezTo>
                  <a:lnTo>
                    <a:pt x="1633" y="3034"/>
                  </a:lnTo>
                  <a:lnTo>
                    <a:pt x="1635" y="3033"/>
                  </a:lnTo>
                  <a:cubicBezTo>
                    <a:pt x="1807" y="2997"/>
                    <a:pt x="1938" y="2860"/>
                    <a:pt x="1971" y="2692"/>
                  </a:cubicBezTo>
                  <a:close/>
                  <a:moveTo>
                    <a:pt x="1642" y="1374"/>
                  </a:moveTo>
                  <a:lnTo>
                    <a:pt x="2964" y="1374"/>
                  </a:lnTo>
                  <a:lnTo>
                    <a:pt x="2964" y="1755"/>
                  </a:lnTo>
                  <a:cubicBezTo>
                    <a:pt x="2964" y="2120"/>
                    <a:pt x="2668" y="2416"/>
                    <a:pt x="2303" y="2416"/>
                  </a:cubicBezTo>
                  <a:cubicBezTo>
                    <a:pt x="1938" y="2416"/>
                    <a:pt x="1642" y="2120"/>
                    <a:pt x="1642" y="1755"/>
                  </a:cubicBezTo>
                  <a:lnTo>
                    <a:pt x="1642" y="1374"/>
                  </a:lnTo>
                  <a:close/>
                  <a:moveTo>
                    <a:pt x="1675" y="469"/>
                  </a:moveTo>
                  <a:cubicBezTo>
                    <a:pt x="1675" y="394"/>
                    <a:pt x="1736" y="333"/>
                    <a:pt x="1811" y="333"/>
                  </a:cubicBezTo>
                  <a:cubicBezTo>
                    <a:pt x="1847" y="333"/>
                    <a:pt x="1881" y="347"/>
                    <a:pt x="1906" y="373"/>
                  </a:cubicBezTo>
                  <a:cubicBezTo>
                    <a:pt x="2124" y="590"/>
                    <a:pt x="2477" y="590"/>
                    <a:pt x="2694" y="373"/>
                  </a:cubicBezTo>
                  <a:lnTo>
                    <a:pt x="2694" y="373"/>
                  </a:lnTo>
                  <a:cubicBezTo>
                    <a:pt x="2719" y="347"/>
                    <a:pt x="2753" y="333"/>
                    <a:pt x="2790" y="333"/>
                  </a:cubicBezTo>
                  <a:lnTo>
                    <a:pt x="2796" y="333"/>
                  </a:lnTo>
                  <a:cubicBezTo>
                    <a:pt x="2870" y="333"/>
                    <a:pt x="2931" y="394"/>
                    <a:pt x="2931" y="469"/>
                  </a:cubicBezTo>
                  <a:lnTo>
                    <a:pt x="2931" y="1041"/>
                  </a:lnTo>
                  <a:lnTo>
                    <a:pt x="1675" y="1041"/>
                  </a:lnTo>
                  <a:lnTo>
                    <a:pt x="1675" y="469"/>
                  </a:lnTo>
                  <a:close/>
                  <a:moveTo>
                    <a:pt x="4025" y="2912"/>
                  </a:moveTo>
                  <a:lnTo>
                    <a:pt x="3039" y="2707"/>
                  </a:lnTo>
                  <a:cubicBezTo>
                    <a:pt x="2993" y="2697"/>
                    <a:pt x="2960" y="2657"/>
                    <a:pt x="2960" y="2610"/>
                  </a:cubicBezTo>
                  <a:lnTo>
                    <a:pt x="2960" y="2501"/>
                  </a:lnTo>
                  <a:cubicBezTo>
                    <a:pt x="3167" y="2318"/>
                    <a:pt x="3298" y="2052"/>
                    <a:pt x="3298" y="1755"/>
                  </a:cubicBezTo>
                  <a:lnTo>
                    <a:pt x="3298" y="1374"/>
                  </a:lnTo>
                  <a:lnTo>
                    <a:pt x="3544" y="1374"/>
                  </a:lnTo>
                  <a:cubicBezTo>
                    <a:pt x="3636" y="1374"/>
                    <a:pt x="3711" y="1299"/>
                    <a:pt x="3711" y="1207"/>
                  </a:cubicBezTo>
                  <a:cubicBezTo>
                    <a:pt x="3711" y="1115"/>
                    <a:pt x="3636" y="1041"/>
                    <a:pt x="3544" y="1041"/>
                  </a:cubicBezTo>
                  <a:lnTo>
                    <a:pt x="3265" y="1041"/>
                  </a:lnTo>
                  <a:lnTo>
                    <a:pt x="3265" y="469"/>
                  </a:lnTo>
                  <a:cubicBezTo>
                    <a:pt x="3265" y="210"/>
                    <a:pt x="3054" y="0"/>
                    <a:pt x="2796" y="0"/>
                  </a:cubicBezTo>
                  <a:lnTo>
                    <a:pt x="2790" y="0"/>
                  </a:lnTo>
                  <a:cubicBezTo>
                    <a:pt x="2664" y="0"/>
                    <a:pt x="2547" y="49"/>
                    <a:pt x="2458" y="137"/>
                  </a:cubicBezTo>
                  <a:cubicBezTo>
                    <a:pt x="2371" y="224"/>
                    <a:pt x="2229" y="224"/>
                    <a:pt x="2142" y="137"/>
                  </a:cubicBezTo>
                  <a:cubicBezTo>
                    <a:pt x="2054" y="49"/>
                    <a:pt x="1936" y="0"/>
                    <a:pt x="1811" y="0"/>
                  </a:cubicBezTo>
                  <a:cubicBezTo>
                    <a:pt x="1552" y="0"/>
                    <a:pt x="1342" y="210"/>
                    <a:pt x="1342" y="469"/>
                  </a:cubicBezTo>
                  <a:lnTo>
                    <a:pt x="1342" y="1041"/>
                  </a:lnTo>
                  <a:lnTo>
                    <a:pt x="1056" y="1041"/>
                  </a:lnTo>
                  <a:cubicBezTo>
                    <a:pt x="964" y="1041"/>
                    <a:pt x="890" y="1115"/>
                    <a:pt x="890" y="1207"/>
                  </a:cubicBezTo>
                  <a:cubicBezTo>
                    <a:pt x="890" y="1299"/>
                    <a:pt x="964" y="1374"/>
                    <a:pt x="1056" y="1374"/>
                  </a:cubicBezTo>
                  <a:lnTo>
                    <a:pt x="1308" y="1374"/>
                  </a:lnTo>
                  <a:lnTo>
                    <a:pt x="1308" y="1755"/>
                  </a:lnTo>
                  <a:cubicBezTo>
                    <a:pt x="1308" y="2052"/>
                    <a:pt x="1439" y="2318"/>
                    <a:pt x="1646" y="2501"/>
                  </a:cubicBezTo>
                  <a:lnTo>
                    <a:pt x="1646" y="2610"/>
                  </a:lnTo>
                  <a:cubicBezTo>
                    <a:pt x="1646" y="2657"/>
                    <a:pt x="1613" y="2697"/>
                    <a:pt x="1567" y="2707"/>
                  </a:cubicBezTo>
                  <a:lnTo>
                    <a:pt x="577" y="2912"/>
                  </a:lnTo>
                  <a:cubicBezTo>
                    <a:pt x="243" y="2981"/>
                    <a:pt x="0" y="3279"/>
                    <a:pt x="0" y="3620"/>
                  </a:cubicBezTo>
                  <a:lnTo>
                    <a:pt x="0" y="4768"/>
                  </a:lnTo>
                  <a:cubicBezTo>
                    <a:pt x="0" y="4860"/>
                    <a:pt x="75" y="4935"/>
                    <a:pt x="167" y="4935"/>
                  </a:cubicBezTo>
                  <a:lnTo>
                    <a:pt x="860" y="4935"/>
                  </a:lnTo>
                  <a:lnTo>
                    <a:pt x="3735" y="4935"/>
                  </a:lnTo>
                  <a:lnTo>
                    <a:pt x="4434" y="4935"/>
                  </a:lnTo>
                  <a:cubicBezTo>
                    <a:pt x="4526" y="4935"/>
                    <a:pt x="4600" y="4860"/>
                    <a:pt x="4600" y="4768"/>
                  </a:cubicBezTo>
                  <a:lnTo>
                    <a:pt x="4600" y="3619"/>
                  </a:lnTo>
                  <a:cubicBezTo>
                    <a:pt x="4600" y="3278"/>
                    <a:pt x="4358" y="2981"/>
                    <a:pt x="4025" y="2912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509937846" name="Freeform 76"/>
            <p:cNvSpPr/>
            <p:nvPr/>
          </p:nvSpPr>
          <p:spPr bwMode="auto">
            <a:xfrm>
              <a:off x="9575799" y="4475162"/>
              <a:ext cx="25399" cy="25399"/>
            </a:xfrm>
            <a:custGeom>
              <a:avLst/>
              <a:gdLst>
                <a:gd name="T0" fmla="*/ 142 w 373"/>
                <a:gd name="T1" fmla="*/ 25 h 353"/>
                <a:gd name="T2" fmla="*/ 134 w 373"/>
                <a:gd name="T3" fmla="*/ 28 h 353"/>
                <a:gd name="T4" fmla="*/ 29 w 373"/>
                <a:gd name="T5" fmla="*/ 239 h 353"/>
                <a:gd name="T6" fmla="*/ 187 w 373"/>
                <a:gd name="T7" fmla="*/ 353 h 353"/>
                <a:gd name="T8" fmla="*/ 238 w 373"/>
                <a:gd name="T9" fmla="*/ 345 h 353"/>
                <a:gd name="T10" fmla="*/ 348 w 373"/>
                <a:gd name="T11" fmla="*/ 140 h 353"/>
                <a:gd name="T12" fmla="*/ 142 w 373"/>
                <a:gd name="T13" fmla="*/ 25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3" h="353" extrusionOk="0">
                  <a:moveTo>
                    <a:pt x="142" y="25"/>
                  </a:moveTo>
                  <a:cubicBezTo>
                    <a:pt x="140" y="26"/>
                    <a:pt x="136" y="27"/>
                    <a:pt x="134" y="28"/>
                  </a:cubicBezTo>
                  <a:cubicBezTo>
                    <a:pt x="47" y="57"/>
                    <a:pt x="0" y="151"/>
                    <a:pt x="29" y="239"/>
                  </a:cubicBezTo>
                  <a:cubicBezTo>
                    <a:pt x="52" y="308"/>
                    <a:pt x="117" y="353"/>
                    <a:pt x="187" y="353"/>
                  </a:cubicBezTo>
                  <a:cubicBezTo>
                    <a:pt x="204" y="353"/>
                    <a:pt x="221" y="350"/>
                    <a:pt x="238" y="345"/>
                  </a:cubicBezTo>
                  <a:cubicBezTo>
                    <a:pt x="324" y="318"/>
                    <a:pt x="373" y="227"/>
                    <a:pt x="348" y="140"/>
                  </a:cubicBezTo>
                  <a:cubicBezTo>
                    <a:pt x="323" y="51"/>
                    <a:pt x="231" y="0"/>
                    <a:pt x="142" y="2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761822540" name="Freeform 77"/>
            <p:cNvSpPr/>
            <p:nvPr/>
          </p:nvSpPr>
          <p:spPr bwMode="auto">
            <a:xfrm>
              <a:off x="9617074" y="4332287"/>
              <a:ext cx="141286" cy="150813"/>
            </a:xfrm>
            <a:custGeom>
              <a:avLst/>
              <a:gdLst>
                <a:gd name="T0" fmla="*/ 1899 w 2025"/>
                <a:gd name="T1" fmla="*/ 35 h 2171"/>
                <a:gd name="T2" fmla="*/ 1681 w 2025"/>
                <a:gd name="T3" fmla="*/ 126 h 2171"/>
                <a:gd name="T4" fmla="*/ 112 w 2025"/>
                <a:gd name="T5" fmla="*/ 1857 h 2171"/>
                <a:gd name="T6" fmla="*/ 43 w 2025"/>
                <a:gd name="T7" fmla="*/ 2082 h 2171"/>
                <a:gd name="T8" fmla="*/ 190 w 2025"/>
                <a:gd name="T9" fmla="*/ 2171 h 2171"/>
                <a:gd name="T10" fmla="*/ 268 w 2025"/>
                <a:gd name="T11" fmla="*/ 2151 h 2171"/>
                <a:gd name="T12" fmla="*/ 1990 w 2025"/>
                <a:gd name="T13" fmla="*/ 252 h 2171"/>
                <a:gd name="T14" fmla="*/ 1899 w 2025"/>
                <a:gd name="T15" fmla="*/ 35 h 2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25" h="2171" extrusionOk="0">
                  <a:moveTo>
                    <a:pt x="1899" y="35"/>
                  </a:moveTo>
                  <a:cubicBezTo>
                    <a:pt x="1814" y="0"/>
                    <a:pt x="1716" y="40"/>
                    <a:pt x="1681" y="126"/>
                  </a:cubicBezTo>
                  <a:cubicBezTo>
                    <a:pt x="1377" y="866"/>
                    <a:pt x="820" y="1481"/>
                    <a:pt x="112" y="1857"/>
                  </a:cubicBezTo>
                  <a:cubicBezTo>
                    <a:pt x="30" y="1900"/>
                    <a:pt x="0" y="2001"/>
                    <a:pt x="43" y="2082"/>
                  </a:cubicBezTo>
                  <a:cubicBezTo>
                    <a:pt x="73" y="2139"/>
                    <a:pt x="130" y="2171"/>
                    <a:pt x="190" y="2171"/>
                  </a:cubicBezTo>
                  <a:cubicBezTo>
                    <a:pt x="216" y="2171"/>
                    <a:pt x="243" y="2165"/>
                    <a:pt x="268" y="2151"/>
                  </a:cubicBezTo>
                  <a:cubicBezTo>
                    <a:pt x="1045" y="1739"/>
                    <a:pt x="1656" y="1064"/>
                    <a:pt x="1990" y="252"/>
                  </a:cubicBezTo>
                  <a:cubicBezTo>
                    <a:pt x="2025" y="167"/>
                    <a:pt x="1984" y="70"/>
                    <a:pt x="1899" y="3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53529317" name="Freeform 78"/>
            <p:cNvSpPr/>
            <p:nvPr/>
          </p:nvSpPr>
          <p:spPr bwMode="auto">
            <a:xfrm>
              <a:off x="9501187" y="3987798"/>
              <a:ext cx="22224" cy="23811"/>
            </a:xfrm>
            <a:custGeom>
              <a:avLst/>
              <a:gdLst>
                <a:gd name="T0" fmla="*/ 167 w 335"/>
                <a:gd name="T1" fmla="*/ 333 h 333"/>
                <a:gd name="T2" fmla="*/ 169 w 335"/>
                <a:gd name="T3" fmla="*/ 333 h 333"/>
                <a:gd name="T4" fmla="*/ 335 w 335"/>
                <a:gd name="T5" fmla="*/ 167 h 333"/>
                <a:gd name="T6" fmla="*/ 169 w 335"/>
                <a:gd name="T7" fmla="*/ 0 h 333"/>
                <a:gd name="T8" fmla="*/ 167 w 335"/>
                <a:gd name="T9" fmla="*/ 0 h 333"/>
                <a:gd name="T10" fmla="*/ 0 w 335"/>
                <a:gd name="T11" fmla="*/ 167 h 333"/>
                <a:gd name="T12" fmla="*/ 167 w 335"/>
                <a:gd name="T13" fmla="*/ 333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5" h="333" extrusionOk="0">
                  <a:moveTo>
                    <a:pt x="167" y="333"/>
                  </a:moveTo>
                  <a:lnTo>
                    <a:pt x="169" y="333"/>
                  </a:lnTo>
                  <a:cubicBezTo>
                    <a:pt x="261" y="333"/>
                    <a:pt x="335" y="259"/>
                    <a:pt x="335" y="167"/>
                  </a:cubicBezTo>
                  <a:cubicBezTo>
                    <a:pt x="335" y="75"/>
                    <a:pt x="261" y="0"/>
                    <a:pt x="169" y="0"/>
                  </a:cubicBezTo>
                  <a:lnTo>
                    <a:pt x="167" y="0"/>
                  </a:lnTo>
                  <a:cubicBezTo>
                    <a:pt x="75" y="0"/>
                    <a:pt x="0" y="75"/>
                    <a:pt x="0" y="167"/>
                  </a:cubicBezTo>
                  <a:cubicBezTo>
                    <a:pt x="0" y="259"/>
                    <a:pt x="75" y="333"/>
                    <a:pt x="167" y="3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115188325" name="Freeform 79"/>
            <p:cNvSpPr/>
            <p:nvPr/>
          </p:nvSpPr>
          <p:spPr bwMode="auto">
            <a:xfrm>
              <a:off x="9250362" y="3989387"/>
              <a:ext cx="233361" cy="271462"/>
            </a:xfrm>
            <a:custGeom>
              <a:avLst/>
              <a:gdLst>
                <a:gd name="T0" fmla="*/ 167 w 3360"/>
                <a:gd name="T1" fmla="*/ 3898 h 3898"/>
                <a:gd name="T2" fmla="*/ 333 w 3360"/>
                <a:gd name="T3" fmla="*/ 3732 h 3898"/>
                <a:gd name="T4" fmla="*/ 3208 w 3360"/>
                <a:gd name="T5" fmla="*/ 344 h 3898"/>
                <a:gd name="T6" fmla="*/ 3345 w 3360"/>
                <a:gd name="T7" fmla="*/ 152 h 3898"/>
                <a:gd name="T8" fmla="*/ 3154 w 3360"/>
                <a:gd name="T9" fmla="*/ 15 h 3898"/>
                <a:gd name="T10" fmla="*/ 906 w 3360"/>
                <a:gd name="T11" fmla="*/ 1281 h 3898"/>
                <a:gd name="T12" fmla="*/ 0 w 3360"/>
                <a:gd name="T13" fmla="*/ 3732 h 3898"/>
                <a:gd name="T14" fmla="*/ 167 w 3360"/>
                <a:gd name="T15" fmla="*/ 3898 h 38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60" h="3898" extrusionOk="0">
                  <a:moveTo>
                    <a:pt x="167" y="3898"/>
                  </a:moveTo>
                  <a:cubicBezTo>
                    <a:pt x="259" y="3898"/>
                    <a:pt x="333" y="3824"/>
                    <a:pt x="333" y="3732"/>
                  </a:cubicBezTo>
                  <a:cubicBezTo>
                    <a:pt x="333" y="2041"/>
                    <a:pt x="1542" y="616"/>
                    <a:pt x="3208" y="344"/>
                  </a:cubicBezTo>
                  <a:cubicBezTo>
                    <a:pt x="3299" y="329"/>
                    <a:pt x="3360" y="243"/>
                    <a:pt x="3345" y="152"/>
                  </a:cubicBezTo>
                  <a:cubicBezTo>
                    <a:pt x="3331" y="61"/>
                    <a:pt x="3245" y="0"/>
                    <a:pt x="3154" y="15"/>
                  </a:cubicBezTo>
                  <a:cubicBezTo>
                    <a:pt x="2282" y="157"/>
                    <a:pt x="1484" y="607"/>
                    <a:pt x="906" y="1281"/>
                  </a:cubicBezTo>
                  <a:cubicBezTo>
                    <a:pt x="322" y="1963"/>
                    <a:pt x="0" y="2833"/>
                    <a:pt x="0" y="3732"/>
                  </a:cubicBezTo>
                  <a:cubicBezTo>
                    <a:pt x="0" y="3824"/>
                    <a:pt x="75" y="3898"/>
                    <a:pt x="167" y="389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/>
            </a:p>
          </p:txBody>
        </p:sp>
      </p:grpSp>
      <p:pic>
        <p:nvPicPr>
          <p:cNvPr id="743709375" name="Рисунок 67"/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848011" y="4925149"/>
            <a:ext cx="389597" cy="390640"/>
          </a:xfrm>
          <a:prstGeom prst="rect">
            <a:avLst/>
          </a:prstGeom>
        </p:spPr>
      </p:pic>
      <p:pic>
        <p:nvPicPr>
          <p:cNvPr id="597569552" name="Picture 2" descr="Виноград с листьями и стеблями – Бесплатные иконки: еда"/>
          <p:cNvPicPr>
            <a:picLocks noChangeAspect="1" noChangeArrowheads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861994" y="5494686"/>
            <a:ext cx="332120" cy="332120"/>
          </a:xfrm>
          <a:prstGeom prst="rect">
            <a:avLst/>
          </a:prstGeom>
          <a:noFill/>
        </p:spPr>
      </p:pic>
      <p:graphicFrame>
        <p:nvGraphicFramePr>
          <p:cNvPr id="94784784" name="Таблица 69"/>
          <p:cNvGraphicFramePr>
            <a:graphicFrameLocks/>
          </p:cNvGraphicFramePr>
          <p:nvPr/>
        </p:nvGraphicFramePr>
        <p:xfrm>
          <a:off x="3539151" y="1817678"/>
          <a:ext cx="2089146" cy="18667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81413"/>
                <a:gridCol w="1607733"/>
              </a:tblGrid>
              <a:tr h="373342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ru-RU" sz="1100" b="0" u="none" strike="noStrike">
                          <a:solidFill>
                            <a:srgbClr val="000000"/>
                          </a:solidFill>
                          <a:latin typeface="Proxima Nova Rg"/>
                        </a:rPr>
                        <a:t>Сыроделие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</a:tr>
              <a:tr h="373342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ru-RU" sz="1100" b="0" u="none" strike="noStrike">
                          <a:solidFill>
                            <a:srgbClr val="000000"/>
                          </a:solidFill>
                          <a:latin typeface="Proxima Nova Rg"/>
                        </a:rPr>
                        <a:t>Пчеловодство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</a:tr>
              <a:tr h="373342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ru-RU" sz="1100" b="0" u="none" strike="noStrike">
                          <a:solidFill>
                            <a:srgbClr val="000000"/>
                          </a:solidFill>
                          <a:latin typeface="Proxima Nova Rg"/>
                        </a:rPr>
                        <a:t>Птицеводство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</a:tr>
              <a:tr h="373342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100" b="0" u="none" strike="noStrike">
                          <a:solidFill>
                            <a:srgbClr val="000000"/>
                          </a:solidFill>
                          <a:latin typeface="Proxima Nova Rg"/>
                        </a:rPr>
                        <a:t>Садоводство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</a:tr>
              <a:tr h="373342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100" b="0" u="none" strike="noStrike">
                          <a:solidFill>
                            <a:srgbClr val="000000"/>
                          </a:solidFill>
                          <a:latin typeface="Proxima Nova Rg"/>
                        </a:rPr>
                        <a:t>Овощеводство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797580009" name="Таблица 72"/>
          <p:cNvGraphicFramePr>
            <a:graphicFrameLocks/>
          </p:cNvGraphicFramePr>
          <p:nvPr/>
        </p:nvGraphicFramePr>
        <p:xfrm>
          <a:off x="752812" y="1802667"/>
          <a:ext cx="2106146" cy="1726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85331"/>
                <a:gridCol w="1620815"/>
              </a:tblGrid>
              <a:tr h="431690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ru-RU" sz="1100" b="0" u="none" strike="noStrike">
                          <a:solidFill>
                            <a:srgbClr val="000000"/>
                          </a:solidFill>
                          <a:latin typeface="Proxima Nova Rg"/>
                        </a:rPr>
                        <a:t>Мясное скотоводство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</a:tr>
              <a:tr h="431690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ru-RU" sz="1100" b="0" u="none" strike="noStrike">
                          <a:solidFill>
                            <a:srgbClr val="000000"/>
                          </a:solidFill>
                          <a:latin typeface="Proxima Nova Rg"/>
                        </a:rPr>
                        <a:t>Молочное скотоводство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</a:tr>
              <a:tr h="431690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100" b="0" u="none" strike="noStrike">
                          <a:solidFill>
                            <a:srgbClr val="000000"/>
                          </a:solidFill>
                          <a:latin typeface="Proxima Nova Rg"/>
                        </a:rPr>
                        <a:t>Растениеводство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</a:tr>
              <a:tr h="431690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100" b="0" u="none" strike="noStrike">
                          <a:solidFill>
                            <a:srgbClr val="000000"/>
                          </a:solidFill>
                          <a:latin typeface="Proxima Nova Rg"/>
                        </a:rPr>
                        <a:t>Животноводство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207471740" name="Freeform 54"/>
          <p:cNvSpPr/>
          <p:nvPr/>
        </p:nvSpPr>
        <p:spPr bwMode="auto">
          <a:xfrm>
            <a:off x="738361" y="1908977"/>
            <a:ext cx="338918" cy="263007"/>
          </a:xfrm>
          <a:custGeom>
            <a:avLst/>
            <a:gdLst>
              <a:gd name="T0" fmla="*/ 2205 w 3840"/>
              <a:gd name="T1" fmla="*/ 2313 h 2348"/>
              <a:gd name="T2" fmla="*/ 2099 w 3840"/>
              <a:gd name="T3" fmla="*/ 2228 h 2348"/>
              <a:gd name="T4" fmla="*/ 2069 w 3840"/>
              <a:gd name="T5" fmla="*/ 2087 h 2348"/>
              <a:gd name="T6" fmla="*/ 2024 w 3840"/>
              <a:gd name="T7" fmla="*/ 1652 h 2348"/>
              <a:gd name="T8" fmla="*/ 1993 w 3840"/>
              <a:gd name="T9" fmla="*/ 1315 h 2348"/>
              <a:gd name="T10" fmla="*/ 1542 w 3840"/>
              <a:gd name="T11" fmla="*/ 1329 h 2348"/>
              <a:gd name="T12" fmla="*/ 1353 w 3840"/>
              <a:gd name="T13" fmla="*/ 1370 h 2348"/>
              <a:gd name="T14" fmla="*/ 1002 w 3840"/>
              <a:gd name="T15" fmla="*/ 1216 h 2348"/>
              <a:gd name="T16" fmla="*/ 860 w 3840"/>
              <a:gd name="T17" fmla="*/ 1238 h 2348"/>
              <a:gd name="T18" fmla="*/ 765 w 3840"/>
              <a:gd name="T19" fmla="*/ 1332 h 2348"/>
              <a:gd name="T20" fmla="*/ 739 w 3840"/>
              <a:gd name="T21" fmla="*/ 1248 h 2348"/>
              <a:gd name="T22" fmla="*/ 713 w 3840"/>
              <a:gd name="T23" fmla="*/ 1342 h 2348"/>
              <a:gd name="T24" fmla="*/ 658 w 3840"/>
              <a:gd name="T25" fmla="*/ 1243 h 2348"/>
              <a:gd name="T26" fmla="*/ 436 w 3840"/>
              <a:gd name="T27" fmla="*/ 1608 h 2348"/>
              <a:gd name="T28" fmla="*/ 508 w 3840"/>
              <a:gd name="T29" fmla="*/ 2229 h 2348"/>
              <a:gd name="T30" fmla="*/ 561 w 3840"/>
              <a:gd name="T31" fmla="*/ 2314 h 2348"/>
              <a:gd name="T32" fmla="*/ 380 w 3840"/>
              <a:gd name="T33" fmla="*/ 2348 h 2348"/>
              <a:gd name="T34" fmla="*/ 295 w 3840"/>
              <a:gd name="T35" fmla="*/ 2242 h 2348"/>
              <a:gd name="T36" fmla="*/ 265 w 3840"/>
              <a:gd name="T37" fmla="*/ 2181 h 2348"/>
              <a:gd name="T38" fmla="*/ 247 w 3840"/>
              <a:gd name="T39" fmla="*/ 2128 h 2348"/>
              <a:gd name="T40" fmla="*/ 207 w 3840"/>
              <a:gd name="T41" fmla="*/ 2090 h 2348"/>
              <a:gd name="T42" fmla="*/ 251 w 3840"/>
              <a:gd name="T43" fmla="*/ 1855 h 2348"/>
              <a:gd name="T44" fmla="*/ 200 w 3840"/>
              <a:gd name="T45" fmla="*/ 1444 h 2348"/>
              <a:gd name="T46" fmla="*/ 250 w 3840"/>
              <a:gd name="T47" fmla="*/ 987 h 2348"/>
              <a:gd name="T48" fmla="*/ 92 w 3840"/>
              <a:gd name="T49" fmla="*/ 527 h 2348"/>
              <a:gd name="T50" fmla="*/ 120 w 3840"/>
              <a:gd name="T51" fmla="*/ 844 h 2348"/>
              <a:gd name="T52" fmla="*/ 164 w 3840"/>
              <a:gd name="T53" fmla="*/ 1425 h 2348"/>
              <a:gd name="T54" fmla="*/ 104 w 3840"/>
              <a:gd name="T55" fmla="*/ 1486 h 2348"/>
              <a:gd name="T56" fmla="*/ 40 w 3840"/>
              <a:gd name="T57" fmla="*/ 1461 h 2348"/>
              <a:gd name="T58" fmla="*/ 50 w 3840"/>
              <a:gd name="T59" fmla="*/ 1243 h 2348"/>
              <a:gd name="T60" fmla="*/ 55 w 3840"/>
              <a:gd name="T61" fmla="*/ 1028 h 2348"/>
              <a:gd name="T62" fmla="*/ 11 w 3840"/>
              <a:gd name="T63" fmla="*/ 817 h 2348"/>
              <a:gd name="T64" fmla="*/ 25 w 3840"/>
              <a:gd name="T65" fmla="*/ 458 h 2348"/>
              <a:gd name="T66" fmla="*/ 427 w 3840"/>
              <a:gd name="T67" fmla="*/ 64 h 2348"/>
              <a:gd name="T68" fmla="*/ 732 w 3840"/>
              <a:gd name="T69" fmla="*/ 0 h 2348"/>
              <a:gd name="T70" fmla="*/ 1783 w 3840"/>
              <a:gd name="T71" fmla="*/ 51 h 2348"/>
              <a:gd name="T72" fmla="*/ 2588 w 3840"/>
              <a:gd name="T73" fmla="*/ 194 h 2348"/>
              <a:gd name="T74" fmla="*/ 2958 w 3840"/>
              <a:gd name="T75" fmla="*/ 303 h 2348"/>
              <a:gd name="T76" fmla="*/ 3181 w 3840"/>
              <a:gd name="T77" fmla="*/ 320 h 2348"/>
              <a:gd name="T78" fmla="*/ 3332 w 3840"/>
              <a:gd name="T79" fmla="*/ 108 h 2348"/>
              <a:gd name="T80" fmla="*/ 3472 w 3840"/>
              <a:gd name="T81" fmla="*/ 237 h 2348"/>
              <a:gd name="T82" fmla="*/ 3547 w 3840"/>
              <a:gd name="T83" fmla="*/ 123 h 2348"/>
              <a:gd name="T84" fmla="*/ 3509 w 3840"/>
              <a:gd name="T85" fmla="*/ 298 h 2348"/>
              <a:gd name="T86" fmla="*/ 3643 w 3840"/>
              <a:gd name="T87" fmla="*/ 497 h 2348"/>
              <a:gd name="T88" fmla="*/ 3840 w 3840"/>
              <a:gd name="T89" fmla="*/ 804 h 2348"/>
              <a:gd name="T90" fmla="*/ 3836 w 3840"/>
              <a:gd name="T91" fmla="*/ 870 h 2348"/>
              <a:gd name="T92" fmla="*/ 3628 w 3840"/>
              <a:gd name="T93" fmla="*/ 973 h 2348"/>
              <a:gd name="T94" fmla="*/ 3312 w 3840"/>
              <a:gd name="T95" fmla="*/ 924 h 2348"/>
              <a:gd name="T96" fmla="*/ 2911 w 3840"/>
              <a:gd name="T97" fmla="*/ 1086 h 2348"/>
              <a:gd name="T98" fmla="*/ 2696 w 3840"/>
              <a:gd name="T99" fmla="*/ 1314 h 2348"/>
              <a:gd name="T100" fmla="*/ 2389 w 3840"/>
              <a:gd name="T101" fmla="*/ 1485 h 2348"/>
              <a:gd name="T102" fmla="*/ 2309 w 3840"/>
              <a:gd name="T103" fmla="*/ 1936 h 2348"/>
              <a:gd name="T104" fmla="*/ 2343 w 3840"/>
              <a:gd name="T105" fmla="*/ 2172 h 2348"/>
              <a:gd name="T106" fmla="*/ 2450 w 3840"/>
              <a:gd name="T107" fmla="*/ 2297 h 2348"/>
              <a:gd name="T108" fmla="*/ 2392 w 3840"/>
              <a:gd name="T109" fmla="*/ 2348 h 23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840" h="2348" extrusionOk="0">
                <a:moveTo>
                  <a:pt x="2392" y="2348"/>
                </a:moveTo>
                <a:cubicBezTo>
                  <a:pt x="2383" y="2348"/>
                  <a:pt x="2373" y="2348"/>
                  <a:pt x="2364" y="2348"/>
                </a:cubicBezTo>
                <a:cubicBezTo>
                  <a:pt x="2311" y="2336"/>
                  <a:pt x="2258" y="2325"/>
                  <a:pt x="2205" y="2313"/>
                </a:cubicBezTo>
                <a:cubicBezTo>
                  <a:pt x="2199" y="2312"/>
                  <a:pt x="2194" y="2307"/>
                  <a:pt x="2189" y="2304"/>
                </a:cubicBezTo>
                <a:cubicBezTo>
                  <a:pt x="2183" y="2299"/>
                  <a:pt x="2178" y="2292"/>
                  <a:pt x="2171" y="2291"/>
                </a:cubicBezTo>
                <a:cubicBezTo>
                  <a:pt x="2135" y="2283"/>
                  <a:pt x="2101" y="2272"/>
                  <a:pt x="2099" y="2228"/>
                </a:cubicBezTo>
                <a:cubicBezTo>
                  <a:pt x="2098" y="2214"/>
                  <a:pt x="2104" y="2200"/>
                  <a:pt x="2108" y="2185"/>
                </a:cubicBezTo>
                <a:cubicBezTo>
                  <a:pt x="2072" y="2171"/>
                  <a:pt x="2068" y="2165"/>
                  <a:pt x="2068" y="2123"/>
                </a:cubicBezTo>
                <a:cubicBezTo>
                  <a:pt x="2068" y="2111"/>
                  <a:pt x="2069" y="2099"/>
                  <a:pt x="2069" y="2087"/>
                </a:cubicBezTo>
                <a:cubicBezTo>
                  <a:pt x="2070" y="2026"/>
                  <a:pt x="2072" y="1964"/>
                  <a:pt x="2071" y="1903"/>
                </a:cubicBezTo>
                <a:cubicBezTo>
                  <a:pt x="2069" y="1847"/>
                  <a:pt x="2066" y="1792"/>
                  <a:pt x="2040" y="1740"/>
                </a:cubicBezTo>
                <a:cubicBezTo>
                  <a:pt x="2028" y="1714"/>
                  <a:pt x="2028" y="1682"/>
                  <a:pt x="2024" y="1652"/>
                </a:cubicBezTo>
                <a:cubicBezTo>
                  <a:pt x="2021" y="1634"/>
                  <a:pt x="2021" y="1616"/>
                  <a:pt x="2020" y="1597"/>
                </a:cubicBezTo>
                <a:cubicBezTo>
                  <a:pt x="2013" y="1509"/>
                  <a:pt x="2006" y="1420"/>
                  <a:pt x="1999" y="1332"/>
                </a:cubicBezTo>
                <a:cubicBezTo>
                  <a:pt x="1998" y="1326"/>
                  <a:pt x="1997" y="1317"/>
                  <a:pt x="1993" y="1315"/>
                </a:cubicBezTo>
                <a:cubicBezTo>
                  <a:pt x="1974" y="1307"/>
                  <a:pt x="1955" y="1295"/>
                  <a:pt x="1935" y="1295"/>
                </a:cubicBezTo>
                <a:cubicBezTo>
                  <a:pt x="1877" y="1293"/>
                  <a:pt x="1819" y="1293"/>
                  <a:pt x="1761" y="1299"/>
                </a:cubicBezTo>
                <a:cubicBezTo>
                  <a:pt x="1688" y="1306"/>
                  <a:pt x="1615" y="1318"/>
                  <a:pt x="1542" y="1329"/>
                </a:cubicBezTo>
                <a:cubicBezTo>
                  <a:pt x="1501" y="1334"/>
                  <a:pt x="1459" y="1334"/>
                  <a:pt x="1423" y="1359"/>
                </a:cubicBezTo>
                <a:cubicBezTo>
                  <a:pt x="1419" y="1362"/>
                  <a:pt x="1412" y="1362"/>
                  <a:pt x="1406" y="1363"/>
                </a:cubicBezTo>
                <a:cubicBezTo>
                  <a:pt x="1388" y="1366"/>
                  <a:pt x="1370" y="1367"/>
                  <a:pt x="1353" y="1370"/>
                </a:cubicBezTo>
                <a:cubicBezTo>
                  <a:pt x="1334" y="1373"/>
                  <a:pt x="1318" y="1370"/>
                  <a:pt x="1300" y="1359"/>
                </a:cubicBezTo>
                <a:cubicBezTo>
                  <a:pt x="1271" y="1339"/>
                  <a:pt x="1239" y="1321"/>
                  <a:pt x="1207" y="1306"/>
                </a:cubicBezTo>
                <a:cubicBezTo>
                  <a:pt x="1139" y="1275"/>
                  <a:pt x="1070" y="1246"/>
                  <a:pt x="1002" y="1216"/>
                </a:cubicBezTo>
                <a:cubicBezTo>
                  <a:pt x="993" y="1212"/>
                  <a:pt x="983" y="1210"/>
                  <a:pt x="973" y="1208"/>
                </a:cubicBezTo>
                <a:cubicBezTo>
                  <a:pt x="935" y="1201"/>
                  <a:pt x="902" y="1222"/>
                  <a:pt x="868" y="1231"/>
                </a:cubicBezTo>
                <a:cubicBezTo>
                  <a:pt x="865" y="1232"/>
                  <a:pt x="862" y="1235"/>
                  <a:pt x="860" y="1238"/>
                </a:cubicBezTo>
                <a:cubicBezTo>
                  <a:pt x="846" y="1252"/>
                  <a:pt x="812" y="1312"/>
                  <a:pt x="804" y="1332"/>
                </a:cubicBezTo>
                <a:cubicBezTo>
                  <a:pt x="802" y="1338"/>
                  <a:pt x="793" y="1345"/>
                  <a:pt x="786" y="1348"/>
                </a:cubicBezTo>
                <a:cubicBezTo>
                  <a:pt x="773" y="1352"/>
                  <a:pt x="767" y="1342"/>
                  <a:pt x="765" y="1332"/>
                </a:cubicBezTo>
                <a:cubicBezTo>
                  <a:pt x="760" y="1311"/>
                  <a:pt x="756" y="1289"/>
                  <a:pt x="751" y="1268"/>
                </a:cubicBezTo>
                <a:cubicBezTo>
                  <a:pt x="750" y="1261"/>
                  <a:pt x="747" y="1254"/>
                  <a:pt x="745" y="1247"/>
                </a:cubicBezTo>
                <a:cubicBezTo>
                  <a:pt x="743" y="1248"/>
                  <a:pt x="741" y="1248"/>
                  <a:pt x="739" y="1248"/>
                </a:cubicBezTo>
                <a:cubicBezTo>
                  <a:pt x="739" y="1256"/>
                  <a:pt x="738" y="1264"/>
                  <a:pt x="737" y="1271"/>
                </a:cubicBezTo>
                <a:cubicBezTo>
                  <a:pt x="735" y="1289"/>
                  <a:pt x="735" y="1308"/>
                  <a:pt x="731" y="1325"/>
                </a:cubicBezTo>
                <a:cubicBezTo>
                  <a:pt x="729" y="1332"/>
                  <a:pt x="720" y="1339"/>
                  <a:pt x="713" y="1342"/>
                </a:cubicBezTo>
                <a:cubicBezTo>
                  <a:pt x="709" y="1343"/>
                  <a:pt x="699" y="1334"/>
                  <a:pt x="697" y="1328"/>
                </a:cubicBezTo>
                <a:cubicBezTo>
                  <a:pt x="691" y="1309"/>
                  <a:pt x="687" y="1289"/>
                  <a:pt x="684" y="1270"/>
                </a:cubicBezTo>
                <a:cubicBezTo>
                  <a:pt x="681" y="1254"/>
                  <a:pt x="675" y="1245"/>
                  <a:pt x="658" y="1243"/>
                </a:cubicBezTo>
                <a:cubicBezTo>
                  <a:pt x="654" y="1248"/>
                  <a:pt x="649" y="1254"/>
                  <a:pt x="646" y="1260"/>
                </a:cubicBezTo>
                <a:cubicBezTo>
                  <a:pt x="586" y="1352"/>
                  <a:pt x="525" y="1444"/>
                  <a:pt x="467" y="1537"/>
                </a:cubicBezTo>
                <a:cubicBezTo>
                  <a:pt x="453" y="1559"/>
                  <a:pt x="444" y="1584"/>
                  <a:pt x="436" y="1608"/>
                </a:cubicBezTo>
                <a:cubicBezTo>
                  <a:pt x="384" y="1782"/>
                  <a:pt x="393" y="1955"/>
                  <a:pt x="445" y="2128"/>
                </a:cubicBezTo>
                <a:cubicBezTo>
                  <a:pt x="449" y="2142"/>
                  <a:pt x="459" y="2155"/>
                  <a:pt x="467" y="2167"/>
                </a:cubicBezTo>
                <a:cubicBezTo>
                  <a:pt x="481" y="2188"/>
                  <a:pt x="506" y="2207"/>
                  <a:pt x="508" y="2229"/>
                </a:cubicBezTo>
                <a:cubicBezTo>
                  <a:pt x="511" y="2258"/>
                  <a:pt x="529" y="2269"/>
                  <a:pt x="545" y="2285"/>
                </a:cubicBezTo>
                <a:cubicBezTo>
                  <a:pt x="547" y="2288"/>
                  <a:pt x="550" y="2290"/>
                  <a:pt x="551" y="2293"/>
                </a:cubicBezTo>
                <a:cubicBezTo>
                  <a:pt x="555" y="2300"/>
                  <a:pt x="563" y="2311"/>
                  <a:pt x="561" y="2314"/>
                </a:cubicBezTo>
                <a:cubicBezTo>
                  <a:pt x="555" y="2322"/>
                  <a:pt x="546" y="2330"/>
                  <a:pt x="536" y="2332"/>
                </a:cubicBezTo>
                <a:cubicBezTo>
                  <a:pt x="512" y="2339"/>
                  <a:pt x="488" y="2343"/>
                  <a:pt x="464" y="2348"/>
                </a:cubicBezTo>
                <a:cubicBezTo>
                  <a:pt x="436" y="2348"/>
                  <a:pt x="408" y="2348"/>
                  <a:pt x="380" y="2348"/>
                </a:cubicBezTo>
                <a:cubicBezTo>
                  <a:pt x="360" y="2345"/>
                  <a:pt x="341" y="2343"/>
                  <a:pt x="321" y="2340"/>
                </a:cubicBezTo>
                <a:cubicBezTo>
                  <a:pt x="315" y="2339"/>
                  <a:pt x="307" y="2336"/>
                  <a:pt x="304" y="2332"/>
                </a:cubicBezTo>
                <a:cubicBezTo>
                  <a:pt x="287" y="2304"/>
                  <a:pt x="270" y="2275"/>
                  <a:pt x="295" y="2242"/>
                </a:cubicBezTo>
                <a:cubicBezTo>
                  <a:pt x="288" y="2240"/>
                  <a:pt x="283" y="2238"/>
                  <a:pt x="277" y="2236"/>
                </a:cubicBezTo>
                <a:cubicBezTo>
                  <a:pt x="282" y="2208"/>
                  <a:pt x="281" y="2208"/>
                  <a:pt x="250" y="2199"/>
                </a:cubicBezTo>
                <a:cubicBezTo>
                  <a:pt x="255" y="2193"/>
                  <a:pt x="259" y="2188"/>
                  <a:pt x="265" y="2181"/>
                </a:cubicBezTo>
                <a:cubicBezTo>
                  <a:pt x="256" y="2180"/>
                  <a:pt x="249" y="2179"/>
                  <a:pt x="241" y="2178"/>
                </a:cubicBezTo>
                <a:cubicBezTo>
                  <a:pt x="247" y="2171"/>
                  <a:pt x="251" y="2166"/>
                  <a:pt x="255" y="2161"/>
                </a:cubicBezTo>
                <a:cubicBezTo>
                  <a:pt x="270" y="2143"/>
                  <a:pt x="268" y="2135"/>
                  <a:pt x="247" y="2128"/>
                </a:cubicBezTo>
                <a:cubicBezTo>
                  <a:pt x="237" y="2124"/>
                  <a:pt x="227" y="2122"/>
                  <a:pt x="215" y="2118"/>
                </a:cubicBezTo>
                <a:cubicBezTo>
                  <a:pt x="226" y="2112"/>
                  <a:pt x="235" y="2107"/>
                  <a:pt x="248" y="2100"/>
                </a:cubicBezTo>
                <a:cubicBezTo>
                  <a:pt x="232" y="2096"/>
                  <a:pt x="222" y="2094"/>
                  <a:pt x="207" y="2090"/>
                </a:cubicBezTo>
                <a:cubicBezTo>
                  <a:pt x="216" y="2087"/>
                  <a:pt x="218" y="2086"/>
                  <a:pt x="221" y="2084"/>
                </a:cubicBezTo>
                <a:cubicBezTo>
                  <a:pt x="241" y="2076"/>
                  <a:pt x="254" y="2065"/>
                  <a:pt x="253" y="2039"/>
                </a:cubicBezTo>
                <a:cubicBezTo>
                  <a:pt x="250" y="1978"/>
                  <a:pt x="253" y="1916"/>
                  <a:pt x="251" y="1855"/>
                </a:cubicBezTo>
                <a:cubicBezTo>
                  <a:pt x="248" y="1754"/>
                  <a:pt x="242" y="1653"/>
                  <a:pt x="205" y="1557"/>
                </a:cubicBezTo>
                <a:cubicBezTo>
                  <a:pt x="198" y="1537"/>
                  <a:pt x="193" y="1517"/>
                  <a:pt x="190" y="1497"/>
                </a:cubicBezTo>
                <a:cubicBezTo>
                  <a:pt x="186" y="1478"/>
                  <a:pt x="185" y="1457"/>
                  <a:pt x="200" y="1444"/>
                </a:cubicBezTo>
                <a:cubicBezTo>
                  <a:pt x="234" y="1412"/>
                  <a:pt x="245" y="1369"/>
                  <a:pt x="255" y="1327"/>
                </a:cubicBezTo>
                <a:cubicBezTo>
                  <a:pt x="264" y="1287"/>
                  <a:pt x="276" y="1247"/>
                  <a:pt x="274" y="1207"/>
                </a:cubicBezTo>
                <a:cubicBezTo>
                  <a:pt x="271" y="1133"/>
                  <a:pt x="262" y="1060"/>
                  <a:pt x="250" y="987"/>
                </a:cubicBezTo>
                <a:cubicBezTo>
                  <a:pt x="223" y="828"/>
                  <a:pt x="167" y="678"/>
                  <a:pt x="102" y="532"/>
                </a:cubicBezTo>
                <a:cubicBezTo>
                  <a:pt x="101" y="530"/>
                  <a:pt x="99" y="529"/>
                  <a:pt x="98" y="527"/>
                </a:cubicBezTo>
                <a:cubicBezTo>
                  <a:pt x="96" y="527"/>
                  <a:pt x="94" y="527"/>
                  <a:pt x="92" y="527"/>
                </a:cubicBezTo>
                <a:cubicBezTo>
                  <a:pt x="88" y="575"/>
                  <a:pt x="83" y="622"/>
                  <a:pt x="80" y="670"/>
                </a:cubicBezTo>
                <a:cubicBezTo>
                  <a:pt x="79" y="694"/>
                  <a:pt x="79" y="719"/>
                  <a:pt x="83" y="743"/>
                </a:cubicBezTo>
                <a:cubicBezTo>
                  <a:pt x="89" y="779"/>
                  <a:pt x="102" y="812"/>
                  <a:pt x="120" y="844"/>
                </a:cubicBezTo>
                <a:cubicBezTo>
                  <a:pt x="148" y="891"/>
                  <a:pt x="157" y="944"/>
                  <a:pt x="160" y="999"/>
                </a:cubicBezTo>
                <a:cubicBezTo>
                  <a:pt x="164" y="1070"/>
                  <a:pt x="169" y="1141"/>
                  <a:pt x="176" y="1212"/>
                </a:cubicBezTo>
                <a:cubicBezTo>
                  <a:pt x="183" y="1284"/>
                  <a:pt x="177" y="1354"/>
                  <a:pt x="164" y="1425"/>
                </a:cubicBezTo>
                <a:cubicBezTo>
                  <a:pt x="161" y="1442"/>
                  <a:pt x="154" y="1456"/>
                  <a:pt x="132" y="1448"/>
                </a:cubicBezTo>
                <a:cubicBezTo>
                  <a:pt x="128" y="1456"/>
                  <a:pt x="126" y="1463"/>
                  <a:pt x="121" y="1469"/>
                </a:cubicBezTo>
                <a:cubicBezTo>
                  <a:pt x="116" y="1475"/>
                  <a:pt x="110" y="1480"/>
                  <a:pt x="104" y="1486"/>
                </a:cubicBezTo>
                <a:cubicBezTo>
                  <a:pt x="99" y="1480"/>
                  <a:pt x="93" y="1473"/>
                  <a:pt x="89" y="1466"/>
                </a:cubicBezTo>
                <a:cubicBezTo>
                  <a:pt x="87" y="1463"/>
                  <a:pt x="86" y="1458"/>
                  <a:pt x="84" y="1454"/>
                </a:cubicBezTo>
                <a:cubicBezTo>
                  <a:pt x="68" y="1475"/>
                  <a:pt x="59" y="1475"/>
                  <a:pt x="40" y="1461"/>
                </a:cubicBezTo>
                <a:cubicBezTo>
                  <a:pt x="27" y="1450"/>
                  <a:pt x="18" y="1438"/>
                  <a:pt x="20" y="1420"/>
                </a:cubicBezTo>
                <a:cubicBezTo>
                  <a:pt x="22" y="1405"/>
                  <a:pt x="21" y="1389"/>
                  <a:pt x="24" y="1374"/>
                </a:cubicBezTo>
                <a:cubicBezTo>
                  <a:pt x="32" y="1330"/>
                  <a:pt x="43" y="1287"/>
                  <a:pt x="50" y="1243"/>
                </a:cubicBezTo>
                <a:cubicBezTo>
                  <a:pt x="59" y="1184"/>
                  <a:pt x="85" y="1126"/>
                  <a:pt x="67" y="1064"/>
                </a:cubicBezTo>
                <a:cubicBezTo>
                  <a:pt x="66" y="1059"/>
                  <a:pt x="67" y="1052"/>
                  <a:pt x="66" y="1047"/>
                </a:cubicBezTo>
                <a:cubicBezTo>
                  <a:pt x="63" y="1040"/>
                  <a:pt x="59" y="1034"/>
                  <a:pt x="55" y="1028"/>
                </a:cubicBezTo>
                <a:cubicBezTo>
                  <a:pt x="51" y="1024"/>
                  <a:pt x="52" y="1015"/>
                  <a:pt x="49" y="1013"/>
                </a:cubicBezTo>
                <a:cubicBezTo>
                  <a:pt x="35" y="1003"/>
                  <a:pt x="32" y="985"/>
                  <a:pt x="29" y="972"/>
                </a:cubicBezTo>
                <a:cubicBezTo>
                  <a:pt x="21" y="921"/>
                  <a:pt x="17" y="869"/>
                  <a:pt x="11" y="817"/>
                </a:cubicBezTo>
                <a:cubicBezTo>
                  <a:pt x="7" y="779"/>
                  <a:pt x="4" y="742"/>
                  <a:pt x="0" y="704"/>
                </a:cubicBezTo>
                <a:cubicBezTo>
                  <a:pt x="0" y="661"/>
                  <a:pt x="0" y="619"/>
                  <a:pt x="0" y="576"/>
                </a:cubicBezTo>
                <a:cubicBezTo>
                  <a:pt x="8" y="536"/>
                  <a:pt x="14" y="496"/>
                  <a:pt x="25" y="458"/>
                </a:cubicBezTo>
                <a:cubicBezTo>
                  <a:pt x="46" y="388"/>
                  <a:pt x="61" y="318"/>
                  <a:pt x="94" y="252"/>
                </a:cubicBezTo>
                <a:cubicBezTo>
                  <a:pt x="137" y="167"/>
                  <a:pt x="202" y="110"/>
                  <a:pt x="296" y="90"/>
                </a:cubicBezTo>
                <a:cubicBezTo>
                  <a:pt x="340" y="80"/>
                  <a:pt x="383" y="72"/>
                  <a:pt x="427" y="64"/>
                </a:cubicBezTo>
                <a:cubicBezTo>
                  <a:pt x="477" y="56"/>
                  <a:pt x="528" y="56"/>
                  <a:pt x="570" y="20"/>
                </a:cubicBezTo>
                <a:cubicBezTo>
                  <a:pt x="585" y="7"/>
                  <a:pt x="611" y="6"/>
                  <a:pt x="632" y="0"/>
                </a:cubicBezTo>
                <a:cubicBezTo>
                  <a:pt x="665" y="0"/>
                  <a:pt x="699" y="0"/>
                  <a:pt x="732" y="0"/>
                </a:cubicBezTo>
                <a:cubicBezTo>
                  <a:pt x="735" y="1"/>
                  <a:pt x="738" y="3"/>
                  <a:pt x="741" y="3"/>
                </a:cubicBezTo>
                <a:cubicBezTo>
                  <a:pt x="856" y="14"/>
                  <a:pt x="969" y="27"/>
                  <a:pt x="1084" y="35"/>
                </a:cubicBezTo>
                <a:cubicBezTo>
                  <a:pt x="1317" y="53"/>
                  <a:pt x="1550" y="53"/>
                  <a:pt x="1783" y="51"/>
                </a:cubicBezTo>
                <a:cubicBezTo>
                  <a:pt x="1890" y="50"/>
                  <a:pt x="1997" y="52"/>
                  <a:pt x="2103" y="57"/>
                </a:cubicBezTo>
                <a:cubicBezTo>
                  <a:pt x="2185" y="62"/>
                  <a:pt x="2266" y="71"/>
                  <a:pt x="2347" y="85"/>
                </a:cubicBezTo>
                <a:cubicBezTo>
                  <a:pt x="2436" y="101"/>
                  <a:pt x="2512" y="147"/>
                  <a:pt x="2588" y="194"/>
                </a:cubicBezTo>
                <a:cubicBezTo>
                  <a:pt x="2597" y="199"/>
                  <a:pt x="2606" y="204"/>
                  <a:pt x="2616" y="208"/>
                </a:cubicBezTo>
                <a:cubicBezTo>
                  <a:pt x="2659" y="222"/>
                  <a:pt x="2701" y="236"/>
                  <a:pt x="2744" y="248"/>
                </a:cubicBezTo>
                <a:cubicBezTo>
                  <a:pt x="2815" y="267"/>
                  <a:pt x="2887" y="285"/>
                  <a:pt x="2958" y="303"/>
                </a:cubicBezTo>
                <a:cubicBezTo>
                  <a:pt x="2963" y="304"/>
                  <a:pt x="2970" y="302"/>
                  <a:pt x="2975" y="299"/>
                </a:cubicBezTo>
                <a:cubicBezTo>
                  <a:pt x="3020" y="270"/>
                  <a:pt x="3049" y="270"/>
                  <a:pt x="3092" y="301"/>
                </a:cubicBezTo>
                <a:cubicBezTo>
                  <a:pt x="3119" y="321"/>
                  <a:pt x="3150" y="325"/>
                  <a:pt x="3181" y="320"/>
                </a:cubicBezTo>
                <a:cubicBezTo>
                  <a:pt x="3200" y="316"/>
                  <a:pt x="3218" y="309"/>
                  <a:pt x="3222" y="287"/>
                </a:cubicBezTo>
                <a:cubicBezTo>
                  <a:pt x="3227" y="257"/>
                  <a:pt x="3243" y="236"/>
                  <a:pt x="3269" y="221"/>
                </a:cubicBezTo>
                <a:cubicBezTo>
                  <a:pt x="3312" y="195"/>
                  <a:pt x="3331" y="156"/>
                  <a:pt x="3332" y="108"/>
                </a:cubicBezTo>
                <a:cubicBezTo>
                  <a:pt x="3332" y="101"/>
                  <a:pt x="3333" y="94"/>
                  <a:pt x="3334" y="83"/>
                </a:cubicBezTo>
                <a:cubicBezTo>
                  <a:pt x="3367" y="121"/>
                  <a:pt x="3377" y="159"/>
                  <a:pt x="3364" y="196"/>
                </a:cubicBezTo>
                <a:cubicBezTo>
                  <a:pt x="3402" y="211"/>
                  <a:pt x="3437" y="224"/>
                  <a:pt x="3472" y="237"/>
                </a:cubicBezTo>
                <a:cubicBezTo>
                  <a:pt x="3477" y="238"/>
                  <a:pt x="3485" y="236"/>
                  <a:pt x="3489" y="233"/>
                </a:cubicBezTo>
                <a:cubicBezTo>
                  <a:pt x="3513" y="214"/>
                  <a:pt x="3527" y="188"/>
                  <a:pt x="3535" y="160"/>
                </a:cubicBezTo>
                <a:cubicBezTo>
                  <a:pt x="3539" y="148"/>
                  <a:pt x="3543" y="136"/>
                  <a:pt x="3547" y="123"/>
                </a:cubicBezTo>
                <a:cubicBezTo>
                  <a:pt x="3575" y="155"/>
                  <a:pt x="3578" y="194"/>
                  <a:pt x="3554" y="231"/>
                </a:cubicBezTo>
                <a:cubicBezTo>
                  <a:pt x="3543" y="248"/>
                  <a:pt x="3527" y="263"/>
                  <a:pt x="3514" y="280"/>
                </a:cubicBezTo>
                <a:cubicBezTo>
                  <a:pt x="3510" y="285"/>
                  <a:pt x="3506" y="294"/>
                  <a:pt x="3509" y="298"/>
                </a:cubicBezTo>
                <a:cubicBezTo>
                  <a:pt x="3522" y="325"/>
                  <a:pt x="3534" y="354"/>
                  <a:pt x="3552" y="378"/>
                </a:cubicBezTo>
                <a:cubicBezTo>
                  <a:pt x="3573" y="405"/>
                  <a:pt x="3602" y="427"/>
                  <a:pt x="3624" y="453"/>
                </a:cubicBezTo>
                <a:cubicBezTo>
                  <a:pt x="3634" y="465"/>
                  <a:pt x="3640" y="482"/>
                  <a:pt x="3643" y="497"/>
                </a:cubicBezTo>
                <a:cubicBezTo>
                  <a:pt x="3649" y="525"/>
                  <a:pt x="3652" y="554"/>
                  <a:pt x="3657" y="582"/>
                </a:cubicBezTo>
                <a:cubicBezTo>
                  <a:pt x="3658" y="588"/>
                  <a:pt x="3662" y="595"/>
                  <a:pt x="3667" y="601"/>
                </a:cubicBezTo>
                <a:cubicBezTo>
                  <a:pt x="3724" y="669"/>
                  <a:pt x="3782" y="736"/>
                  <a:pt x="3840" y="804"/>
                </a:cubicBezTo>
                <a:cubicBezTo>
                  <a:pt x="3840" y="809"/>
                  <a:pt x="3840" y="815"/>
                  <a:pt x="3840" y="820"/>
                </a:cubicBezTo>
                <a:cubicBezTo>
                  <a:pt x="3839" y="830"/>
                  <a:pt x="3837" y="839"/>
                  <a:pt x="3836" y="849"/>
                </a:cubicBezTo>
                <a:cubicBezTo>
                  <a:pt x="3835" y="856"/>
                  <a:pt x="3839" y="865"/>
                  <a:pt x="3836" y="870"/>
                </a:cubicBezTo>
                <a:cubicBezTo>
                  <a:pt x="3819" y="895"/>
                  <a:pt x="3803" y="921"/>
                  <a:pt x="3784" y="944"/>
                </a:cubicBezTo>
                <a:cubicBezTo>
                  <a:pt x="3775" y="955"/>
                  <a:pt x="3760" y="958"/>
                  <a:pt x="3749" y="971"/>
                </a:cubicBezTo>
                <a:cubicBezTo>
                  <a:pt x="3729" y="997"/>
                  <a:pt x="3658" y="1003"/>
                  <a:pt x="3628" y="973"/>
                </a:cubicBezTo>
                <a:cubicBezTo>
                  <a:pt x="3616" y="960"/>
                  <a:pt x="3604" y="959"/>
                  <a:pt x="3590" y="957"/>
                </a:cubicBezTo>
                <a:cubicBezTo>
                  <a:pt x="3522" y="948"/>
                  <a:pt x="3455" y="941"/>
                  <a:pt x="3388" y="927"/>
                </a:cubicBezTo>
                <a:cubicBezTo>
                  <a:pt x="3362" y="922"/>
                  <a:pt x="3338" y="922"/>
                  <a:pt x="3312" y="924"/>
                </a:cubicBezTo>
                <a:cubicBezTo>
                  <a:pt x="3269" y="929"/>
                  <a:pt x="3225" y="931"/>
                  <a:pt x="3181" y="935"/>
                </a:cubicBezTo>
                <a:cubicBezTo>
                  <a:pt x="3171" y="936"/>
                  <a:pt x="3160" y="938"/>
                  <a:pt x="3150" y="941"/>
                </a:cubicBezTo>
                <a:cubicBezTo>
                  <a:pt x="3058" y="968"/>
                  <a:pt x="2983" y="1024"/>
                  <a:pt x="2911" y="1086"/>
                </a:cubicBezTo>
                <a:cubicBezTo>
                  <a:pt x="2889" y="1104"/>
                  <a:pt x="2873" y="1124"/>
                  <a:pt x="2864" y="1151"/>
                </a:cubicBezTo>
                <a:cubicBezTo>
                  <a:pt x="2852" y="1189"/>
                  <a:pt x="2829" y="1222"/>
                  <a:pt x="2797" y="1246"/>
                </a:cubicBezTo>
                <a:cubicBezTo>
                  <a:pt x="2764" y="1270"/>
                  <a:pt x="2730" y="1292"/>
                  <a:pt x="2696" y="1314"/>
                </a:cubicBezTo>
                <a:cubicBezTo>
                  <a:pt x="2663" y="1335"/>
                  <a:pt x="2625" y="1350"/>
                  <a:pt x="2596" y="1375"/>
                </a:cubicBezTo>
                <a:cubicBezTo>
                  <a:pt x="2541" y="1424"/>
                  <a:pt x="2478" y="1453"/>
                  <a:pt x="2408" y="1466"/>
                </a:cubicBezTo>
                <a:cubicBezTo>
                  <a:pt x="2396" y="1469"/>
                  <a:pt x="2391" y="1475"/>
                  <a:pt x="2389" y="1485"/>
                </a:cubicBezTo>
                <a:cubicBezTo>
                  <a:pt x="2380" y="1522"/>
                  <a:pt x="2372" y="1558"/>
                  <a:pt x="2364" y="1594"/>
                </a:cubicBezTo>
                <a:cubicBezTo>
                  <a:pt x="2354" y="1647"/>
                  <a:pt x="2351" y="1701"/>
                  <a:pt x="2333" y="1751"/>
                </a:cubicBezTo>
                <a:cubicBezTo>
                  <a:pt x="2311" y="1812"/>
                  <a:pt x="2300" y="1872"/>
                  <a:pt x="2309" y="1936"/>
                </a:cubicBezTo>
                <a:cubicBezTo>
                  <a:pt x="2310" y="1940"/>
                  <a:pt x="2309" y="1944"/>
                  <a:pt x="2310" y="1948"/>
                </a:cubicBezTo>
                <a:cubicBezTo>
                  <a:pt x="2317" y="2016"/>
                  <a:pt x="2325" y="2085"/>
                  <a:pt x="2333" y="2154"/>
                </a:cubicBezTo>
                <a:cubicBezTo>
                  <a:pt x="2333" y="2160"/>
                  <a:pt x="2339" y="2167"/>
                  <a:pt x="2343" y="2172"/>
                </a:cubicBezTo>
                <a:cubicBezTo>
                  <a:pt x="2356" y="2188"/>
                  <a:pt x="2374" y="2201"/>
                  <a:pt x="2383" y="2219"/>
                </a:cubicBezTo>
                <a:cubicBezTo>
                  <a:pt x="2394" y="2243"/>
                  <a:pt x="2411" y="2260"/>
                  <a:pt x="2429" y="2277"/>
                </a:cubicBezTo>
                <a:cubicBezTo>
                  <a:pt x="2436" y="2284"/>
                  <a:pt x="2442" y="2291"/>
                  <a:pt x="2450" y="2297"/>
                </a:cubicBezTo>
                <a:cubicBezTo>
                  <a:pt x="2460" y="2304"/>
                  <a:pt x="2458" y="2314"/>
                  <a:pt x="2455" y="2323"/>
                </a:cubicBezTo>
                <a:cubicBezTo>
                  <a:pt x="2451" y="2333"/>
                  <a:pt x="2449" y="2342"/>
                  <a:pt x="2435" y="2342"/>
                </a:cubicBezTo>
                <a:cubicBezTo>
                  <a:pt x="2421" y="2343"/>
                  <a:pt x="2406" y="2346"/>
                  <a:pt x="2392" y="2348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89610" tIns="44805" rIns="89610" bIns="4480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258635291" name="Freeform 413"/>
          <p:cNvSpPr/>
          <p:nvPr/>
        </p:nvSpPr>
        <p:spPr bwMode="auto">
          <a:xfrm>
            <a:off x="749237" y="2321269"/>
            <a:ext cx="317166" cy="270037"/>
          </a:xfrm>
          <a:custGeom>
            <a:avLst/>
            <a:gdLst>
              <a:gd name="connsiteX0" fmla="*/ 91440 w 3467100"/>
              <a:gd name="connsiteY0" fmla="*/ 537210 h 2362200"/>
              <a:gd name="connsiteX1" fmla="*/ 91440 w 3467100"/>
              <a:gd name="connsiteY1" fmla="*/ 537210 h 2362200"/>
              <a:gd name="connsiteX2" fmla="*/ 102870 w 3467100"/>
              <a:gd name="connsiteY2" fmla="*/ 502920 h 2362200"/>
              <a:gd name="connsiteX3" fmla="*/ 106680 w 3467100"/>
              <a:gd name="connsiteY3" fmla="*/ 487680 h 2362200"/>
              <a:gd name="connsiteX4" fmla="*/ 118110 w 3467100"/>
              <a:gd name="connsiteY4" fmla="*/ 468630 h 2362200"/>
              <a:gd name="connsiteX5" fmla="*/ 125730 w 3467100"/>
              <a:gd name="connsiteY5" fmla="*/ 457200 h 2362200"/>
              <a:gd name="connsiteX6" fmla="*/ 137160 w 3467100"/>
              <a:gd name="connsiteY6" fmla="*/ 449580 h 2362200"/>
              <a:gd name="connsiteX7" fmla="*/ 144780 w 3467100"/>
              <a:gd name="connsiteY7" fmla="*/ 438150 h 2362200"/>
              <a:gd name="connsiteX8" fmla="*/ 179070 w 3467100"/>
              <a:gd name="connsiteY8" fmla="*/ 419100 h 2362200"/>
              <a:gd name="connsiteX9" fmla="*/ 194310 w 3467100"/>
              <a:gd name="connsiteY9" fmla="*/ 415290 h 2362200"/>
              <a:gd name="connsiteX10" fmla="*/ 209550 w 3467100"/>
              <a:gd name="connsiteY10" fmla="*/ 407670 h 2362200"/>
              <a:gd name="connsiteX11" fmla="*/ 220980 w 3467100"/>
              <a:gd name="connsiteY11" fmla="*/ 403860 h 2362200"/>
              <a:gd name="connsiteX12" fmla="*/ 232410 w 3467100"/>
              <a:gd name="connsiteY12" fmla="*/ 396240 h 2362200"/>
              <a:gd name="connsiteX13" fmla="*/ 293370 w 3467100"/>
              <a:gd name="connsiteY13" fmla="*/ 388620 h 2362200"/>
              <a:gd name="connsiteX14" fmla="*/ 438150 w 3467100"/>
              <a:gd name="connsiteY14" fmla="*/ 388620 h 2362200"/>
              <a:gd name="connsiteX15" fmla="*/ 472440 w 3467100"/>
              <a:gd name="connsiteY15" fmla="*/ 396240 h 2362200"/>
              <a:gd name="connsiteX16" fmla="*/ 514350 w 3467100"/>
              <a:gd name="connsiteY16" fmla="*/ 400050 h 2362200"/>
              <a:gd name="connsiteX17" fmla="*/ 548640 w 3467100"/>
              <a:gd name="connsiteY17" fmla="*/ 403860 h 2362200"/>
              <a:gd name="connsiteX18" fmla="*/ 666750 w 3467100"/>
              <a:gd name="connsiteY18" fmla="*/ 400050 h 2362200"/>
              <a:gd name="connsiteX19" fmla="*/ 1497330 w 3467100"/>
              <a:gd name="connsiteY19" fmla="*/ 403860 h 2362200"/>
              <a:gd name="connsiteX20" fmla="*/ 2164080 w 3467100"/>
              <a:gd name="connsiteY20" fmla="*/ 327660 h 2362200"/>
              <a:gd name="connsiteX21" fmla="*/ 2617470 w 3467100"/>
              <a:gd name="connsiteY21" fmla="*/ 274320 h 2362200"/>
              <a:gd name="connsiteX22" fmla="*/ 2613660 w 3467100"/>
              <a:gd name="connsiteY22" fmla="*/ 224790 h 2362200"/>
              <a:gd name="connsiteX23" fmla="*/ 2526030 w 3467100"/>
              <a:gd name="connsiteY23" fmla="*/ 95250 h 2362200"/>
              <a:gd name="connsiteX24" fmla="*/ 2529840 w 3467100"/>
              <a:gd name="connsiteY24" fmla="*/ 53340 h 2362200"/>
              <a:gd name="connsiteX25" fmla="*/ 2617470 w 3467100"/>
              <a:gd name="connsiteY25" fmla="*/ 68580 h 2362200"/>
              <a:gd name="connsiteX26" fmla="*/ 2621280 w 3467100"/>
              <a:gd name="connsiteY26" fmla="*/ 76200 h 2362200"/>
              <a:gd name="connsiteX27" fmla="*/ 2739390 w 3467100"/>
              <a:gd name="connsiteY27" fmla="*/ 163830 h 2362200"/>
              <a:gd name="connsiteX28" fmla="*/ 2979420 w 3467100"/>
              <a:gd name="connsiteY28" fmla="*/ 140970 h 2362200"/>
              <a:gd name="connsiteX29" fmla="*/ 3181350 w 3467100"/>
              <a:gd name="connsiteY29" fmla="*/ 0 h 2362200"/>
              <a:gd name="connsiteX30" fmla="*/ 3219450 w 3467100"/>
              <a:gd name="connsiteY30" fmla="*/ 0 h 2362200"/>
              <a:gd name="connsiteX31" fmla="*/ 3249930 w 3467100"/>
              <a:gd name="connsiteY31" fmla="*/ 11430 h 2362200"/>
              <a:gd name="connsiteX32" fmla="*/ 3253740 w 3467100"/>
              <a:gd name="connsiteY32" fmla="*/ 26670 h 2362200"/>
              <a:gd name="connsiteX33" fmla="*/ 3261360 w 3467100"/>
              <a:gd name="connsiteY33" fmla="*/ 49530 h 2362200"/>
              <a:gd name="connsiteX34" fmla="*/ 3242310 w 3467100"/>
              <a:gd name="connsiteY34" fmla="*/ 95250 h 2362200"/>
              <a:gd name="connsiteX35" fmla="*/ 3227070 w 3467100"/>
              <a:gd name="connsiteY35" fmla="*/ 99060 h 2362200"/>
              <a:gd name="connsiteX36" fmla="*/ 3215640 w 3467100"/>
              <a:gd name="connsiteY36" fmla="*/ 102870 h 2362200"/>
              <a:gd name="connsiteX37" fmla="*/ 3070860 w 3467100"/>
              <a:gd name="connsiteY37" fmla="*/ 190500 h 2362200"/>
              <a:gd name="connsiteX38" fmla="*/ 3352800 w 3467100"/>
              <a:gd name="connsiteY38" fmla="*/ 480060 h 2362200"/>
              <a:gd name="connsiteX39" fmla="*/ 3467100 w 3467100"/>
              <a:gd name="connsiteY39" fmla="*/ 598170 h 2362200"/>
              <a:gd name="connsiteX40" fmla="*/ 3436620 w 3467100"/>
              <a:gd name="connsiteY40" fmla="*/ 742950 h 2362200"/>
              <a:gd name="connsiteX41" fmla="*/ 3360420 w 3467100"/>
              <a:gd name="connsiteY41" fmla="*/ 777240 h 2362200"/>
              <a:gd name="connsiteX42" fmla="*/ 3158490 w 3467100"/>
              <a:gd name="connsiteY42" fmla="*/ 784860 h 2362200"/>
              <a:gd name="connsiteX43" fmla="*/ 2929890 w 3467100"/>
              <a:gd name="connsiteY43" fmla="*/ 872490 h 2362200"/>
              <a:gd name="connsiteX44" fmla="*/ 2800350 w 3467100"/>
              <a:gd name="connsiteY44" fmla="*/ 941070 h 2362200"/>
              <a:gd name="connsiteX45" fmla="*/ 2632710 w 3467100"/>
              <a:gd name="connsiteY45" fmla="*/ 1238250 h 2362200"/>
              <a:gd name="connsiteX46" fmla="*/ 2529840 w 3467100"/>
              <a:gd name="connsiteY46" fmla="*/ 1447800 h 2362200"/>
              <a:gd name="connsiteX47" fmla="*/ 2491740 w 3467100"/>
              <a:gd name="connsiteY47" fmla="*/ 1489710 h 2362200"/>
              <a:gd name="connsiteX48" fmla="*/ 2461260 w 3467100"/>
              <a:gd name="connsiteY48" fmla="*/ 1504950 h 2362200"/>
              <a:gd name="connsiteX49" fmla="*/ 2442210 w 3467100"/>
              <a:gd name="connsiteY49" fmla="*/ 1508760 h 2362200"/>
              <a:gd name="connsiteX50" fmla="*/ 2419350 w 3467100"/>
              <a:gd name="connsiteY50" fmla="*/ 1516380 h 2362200"/>
              <a:gd name="connsiteX51" fmla="*/ 2404110 w 3467100"/>
              <a:gd name="connsiteY51" fmla="*/ 1520190 h 2362200"/>
              <a:gd name="connsiteX52" fmla="*/ 2381250 w 3467100"/>
              <a:gd name="connsiteY52" fmla="*/ 1535430 h 2362200"/>
              <a:gd name="connsiteX53" fmla="*/ 2350770 w 3467100"/>
              <a:gd name="connsiteY53" fmla="*/ 1554480 h 2362200"/>
              <a:gd name="connsiteX54" fmla="*/ 2339340 w 3467100"/>
              <a:gd name="connsiteY54" fmla="*/ 1577340 h 2362200"/>
              <a:gd name="connsiteX55" fmla="*/ 2339340 w 3467100"/>
              <a:gd name="connsiteY55" fmla="*/ 1581150 h 2362200"/>
              <a:gd name="connsiteX56" fmla="*/ 2305050 w 3467100"/>
              <a:gd name="connsiteY56" fmla="*/ 1824990 h 2362200"/>
              <a:gd name="connsiteX57" fmla="*/ 2297430 w 3467100"/>
              <a:gd name="connsiteY57" fmla="*/ 1985010 h 2362200"/>
              <a:gd name="connsiteX58" fmla="*/ 2449830 w 3467100"/>
              <a:gd name="connsiteY58" fmla="*/ 2270760 h 2362200"/>
              <a:gd name="connsiteX59" fmla="*/ 2506980 w 3467100"/>
              <a:gd name="connsiteY59" fmla="*/ 2316480 h 2362200"/>
              <a:gd name="connsiteX60" fmla="*/ 2484120 w 3467100"/>
              <a:gd name="connsiteY60" fmla="*/ 2354580 h 2362200"/>
              <a:gd name="connsiteX61" fmla="*/ 2297430 w 3467100"/>
              <a:gd name="connsiteY61" fmla="*/ 2362200 h 2362200"/>
              <a:gd name="connsiteX62" fmla="*/ 2129790 w 3467100"/>
              <a:gd name="connsiteY62" fmla="*/ 1855470 h 2362200"/>
              <a:gd name="connsiteX63" fmla="*/ 2065020 w 3467100"/>
              <a:gd name="connsiteY63" fmla="*/ 1805940 h 2362200"/>
              <a:gd name="connsiteX64" fmla="*/ 2080260 w 3467100"/>
              <a:gd name="connsiteY64" fmla="*/ 2129790 h 2362200"/>
              <a:gd name="connsiteX65" fmla="*/ 2190750 w 3467100"/>
              <a:gd name="connsiteY65" fmla="*/ 2289810 h 2362200"/>
              <a:gd name="connsiteX66" fmla="*/ 2171700 w 3467100"/>
              <a:gd name="connsiteY66" fmla="*/ 2301240 h 2362200"/>
              <a:gd name="connsiteX67" fmla="*/ 1962150 w 3467100"/>
              <a:gd name="connsiteY67" fmla="*/ 2320290 h 2362200"/>
              <a:gd name="connsiteX68" fmla="*/ 1924050 w 3467100"/>
              <a:gd name="connsiteY68" fmla="*/ 2198370 h 2362200"/>
              <a:gd name="connsiteX69" fmla="*/ 1836420 w 3467100"/>
              <a:gd name="connsiteY69" fmla="*/ 1642110 h 2362200"/>
              <a:gd name="connsiteX70" fmla="*/ 1741170 w 3467100"/>
              <a:gd name="connsiteY70" fmla="*/ 1539240 h 2362200"/>
              <a:gd name="connsiteX71" fmla="*/ 1367790 w 3467100"/>
              <a:gd name="connsiteY71" fmla="*/ 1562100 h 2362200"/>
              <a:gd name="connsiteX72" fmla="*/ 1162050 w 3467100"/>
              <a:gd name="connsiteY72" fmla="*/ 1584960 h 2362200"/>
              <a:gd name="connsiteX73" fmla="*/ 1089660 w 3467100"/>
              <a:gd name="connsiteY73" fmla="*/ 1680210 h 2362200"/>
              <a:gd name="connsiteX74" fmla="*/ 1036320 w 3467100"/>
              <a:gd name="connsiteY74" fmla="*/ 1695450 h 2362200"/>
              <a:gd name="connsiteX75" fmla="*/ 994410 w 3467100"/>
              <a:gd name="connsiteY75" fmla="*/ 1695450 h 2362200"/>
              <a:gd name="connsiteX76" fmla="*/ 975360 w 3467100"/>
              <a:gd name="connsiteY76" fmla="*/ 1813560 h 2362200"/>
              <a:gd name="connsiteX77" fmla="*/ 941070 w 3467100"/>
              <a:gd name="connsiteY77" fmla="*/ 1809750 h 2362200"/>
              <a:gd name="connsiteX78" fmla="*/ 929640 w 3467100"/>
              <a:gd name="connsiteY78" fmla="*/ 1805940 h 2362200"/>
              <a:gd name="connsiteX79" fmla="*/ 925830 w 3467100"/>
              <a:gd name="connsiteY79" fmla="*/ 1790700 h 2362200"/>
              <a:gd name="connsiteX80" fmla="*/ 906780 w 3467100"/>
              <a:gd name="connsiteY80" fmla="*/ 1703070 h 2362200"/>
              <a:gd name="connsiteX81" fmla="*/ 876300 w 3467100"/>
              <a:gd name="connsiteY81" fmla="*/ 1703070 h 2362200"/>
              <a:gd name="connsiteX82" fmla="*/ 857250 w 3467100"/>
              <a:gd name="connsiteY82" fmla="*/ 1802130 h 2362200"/>
              <a:gd name="connsiteX83" fmla="*/ 849630 w 3467100"/>
              <a:gd name="connsiteY83" fmla="*/ 1836420 h 2362200"/>
              <a:gd name="connsiteX84" fmla="*/ 826770 w 3467100"/>
              <a:gd name="connsiteY84" fmla="*/ 1851660 h 2362200"/>
              <a:gd name="connsiteX85" fmla="*/ 811530 w 3467100"/>
              <a:gd name="connsiteY85" fmla="*/ 1847850 h 2362200"/>
              <a:gd name="connsiteX86" fmla="*/ 807720 w 3467100"/>
              <a:gd name="connsiteY86" fmla="*/ 1836420 h 2362200"/>
              <a:gd name="connsiteX87" fmla="*/ 800100 w 3467100"/>
              <a:gd name="connsiteY87" fmla="*/ 1828800 h 2362200"/>
              <a:gd name="connsiteX88" fmla="*/ 773430 w 3467100"/>
              <a:gd name="connsiteY88" fmla="*/ 1710690 h 2362200"/>
              <a:gd name="connsiteX89" fmla="*/ 693420 w 3467100"/>
              <a:gd name="connsiteY89" fmla="*/ 1718310 h 2362200"/>
              <a:gd name="connsiteX90" fmla="*/ 659130 w 3467100"/>
              <a:gd name="connsiteY90" fmla="*/ 1798320 h 2362200"/>
              <a:gd name="connsiteX91" fmla="*/ 678180 w 3467100"/>
              <a:gd name="connsiteY91" fmla="*/ 1840230 h 2362200"/>
              <a:gd name="connsiteX92" fmla="*/ 689610 w 3467100"/>
              <a:gd name="connsiteY92" fmla="*/ 1859280 h 2362200"/>
              <a:gd name="connsiteX93" fmla="*/ 701040 w 3467100"/>
              <a:gd name="connsiteY93" fmla="*/ 1866900 h 2362200"/>
              <a:gd name="connsiteX94" fmla="*/ 704850 w 3467100"/>
              <a:gd name="connsiteY94" fmla="*/ 1885950 h 2362200"/>
              <a:gd name="connsiteX95" fmla="*/ 708660 w 3467100"/>
              <a:gd name="connsiteY95" fmla="*/ 1897380 h 2362200"/>
              <a:gd name="connsiteX96" fmla="*/ 704850 w 3467100"/>
              <a:gd name="connsiteY96" fmla="*/ 1916430 h 2362200"/>
              <a:gd name="connsiteX97" fmla="*/ 697230 w 3467100"/>
              <a:gd name="connsiteY97" fmla="*/ 1927860 h 2362200"/>
              <a:gd name="connsiteX98" fmla="*/ 701040 w 3467100"/>
              <a:gd name="connsiteY98" fmla="*/ 1939290 h 2362200"/>
              <a:gd name="connsiteX99" fmla="*/ 777240 w 3467100"/>
              <a:gd name="connsiteY99" fmla="*/ 2171700 h 2362200"/>
              <a:gd name="connsiteX100" fmla="*/ 963930 w 3467100"/>
              <a:gd name="connsiteY100" fmla="*/ 2270760 h 2362200"/>
              <a:gd name="connsiteX101" fmla="*/ 944880 w 3467100"/>
              <a:gd name="connsiteY101" fmla="*/ 2320290 h 2362200"/>
              <a:gd name="connsiteX102" fmla="*/ 720090 w 3467100"/>
              <a:gd name="connsiteY102" fmla="*/ 2324100 h 2362200"/>
              <a:gd name="connsiteX103" fmla="*/ 613410 w 3467100"/>
              <a:gd name="connsiteY103" fmla="*/ 2202180 h 2362200"/>
              <a:gd name="connsiteX104" fmla="*/ 434340 w 3467100"/>
              <a:gd name="connsiteY104" fmla="*/ 1687830 h 2362200"/>
              <a:gd name="connsiteX105" fmla="*/ 392430 w 3467100"/>
              <a:gd name="connsiteY105" fmla="*/ 1691640 h 2362200"/>
              <a:gd name="connsiteX106" fmla="*/ 316230 w 3467100"/>
              <a:gd name="connsiteY106" fmla="*/ 2042160 h 2362200"/>
              <a:gd name="connsiteX107" fmla="*/ 388620 w 3467100"/>
              <a:gd name="connsiteY107" fmla="*/ 2266950 h 2362200"/>
              <a:gd name="connsiteX108" fmla="*/ 426720 w 3467100"/>
              <a:gd name="connsiteY108" fmla="*/ 2274570 h 2362200"/>
              <a:gd name="connsiteX109" fmla="*/ 445770 w 3467100"/>
              <a:gd name="connsiteY109" fmla="*/ 2293620 h 2362200"/>
              <a:gd name="connsiteX110" fmla="*/ 453390 w 3467100"/>
              <a:gd name="connsiteY110" fmla="*/ 2301240 h 2362200"/>
              <a:gd name="connsiteX111" fmla="*/ 464820 w 3467100"/>
              <a:gd name="connsiteY111" fmla="*/ 2335530 h 2362200"/>
              <a:gd name="connsiteX112" fmla="*/ 209550 w 3467100"/>
              <a:gd name="connsiteY112" fmla="*/ 2358390 h 2362200"/>
              <a:gd name="connsiteX113" fmla="*/ 144780 w 3467100"/>
              <a:gd name="connsiteY113" fmla="*/ 1767840 h 2362200"/>
              <a:gd name="connsiteX114" fmla="*/ 125730 w 3467100"/>
              <a:gd name="connsiteY114" fmla="*/ 1592580 h 2362200"/>
              <a:gd name="connsiteX115" fmla="*/ 182880 w 3467100"/>
              <a:gd name="connsiteY115" fmla="*/ 1310640 h 2362200"/>
              <a:gd name="connsiteX116" fmla="*/ 118110 w 3467100"/>
              <a:gd name="connsiteY116" fmla="*/ 933450 h 2362200"/>
              <a:gd name="connsiteX117" fmla="*/ 102870 w 3467100"/>
              <a:gd name="connsiteY117" fmla="*/ 929640 h 2362200"/>
              <a:gd name="connsiteX118" fmla="*/ 102870 w 3467100"/>
              <a:gd name="connsiteY118" fmla="*/ 1002030 h 2362200"/>
              <a:gd name="connsiteX119" fmla="*/ 110490 w 3467100"/>
              <a:gd name="connsiteY119" fmla="*/ 1181100 h 2362200"/>
              <a:gd name="connsiteX120" fmla="*/ 95250 w 3467100"/>
              <a:gd name="connsiteY120" fmla="*/ 1322070 h 2362200"/>
              <a:gd name="connsiteX121" fmla="*/ 83820 w 3467100"/>
              <a:gd name="connsiteY121" fmla="*/ 1360170 h 2362200"/>
              <a:gd name="connsiteX122" fmla="*/ 76200 w 3467100"/>
              <a:gd name="connsiteY122" fmla="*/ 1379220 h 2362200"/>
              <a:gd name="connsiteX123" fmla="*/ 64770 w 3467100"/>
              <a:gd name="connsiteY123" fmla="*/ 1383030 h 2362200"/>
              <a:gd name="connsiteX124" fmla="*/ 53340 w 3467100"/>
              <a:gd name="connsiteY124" fmla="*/ 1390650 h 2362200"/>
              <a:gd name="connsiteX125" fmla="*/ 0 w 3467100"/>
              <a:gd name="connsiteY125" fmla="*/ 1398270 h 2362200"/>
              <a:gd name="connsiteX126" fmla="*/ 0 w 3467100"/>
              <a:gd name="connsiteY126" fmla="*/ 1215390 h 2362200"/>
              <a:gd name="connsiteX127" fmla="*/ 38100 w 3467100"/>
              <a:gd name="connsiteY127" fmla="*/ 933450 h 2362200"/>
              <a:gd name="connsiteX128" fmla="*/ 72390 w 3467100"/>
              <a:gd name="connsiteY128" fmla="*/ 601980 h 2362200"/>
              <a:gd name="connsiteX129" fmla="*/ 91440 w 3467100"/>
              <a:gd name="connsiteY129" fmla="*/ 537210 h 2362200"/>
              <a:gd name="connsiteX0" fmla="*/ 91440 w 3467100"/>
              <a:gd name="connsiteY0" fmla="*/ 537210 h 2362200"/>
              <a:gd name="connsiteX1" fmla="*/ 91440 w 3467100"/>
              <a:gd name="connsiteY1" fmla="*/ 537210 h 2362200"/>
              <a:gd name="connsiteX2" fmla="*/ 102870 w 3467100"/>
              <a:gd name="connsiteY2" fmla="*/ 502920 h 2362200"/>
              <a:gd name="connsiteX3" fmla="*/ 106680 w 3467100"/>
              <a:gd name="connsiteY3" fmla="*/ 487680 h 2362200"/>
              <a:gd name="connsiteX4" fmla="*/ 118110 w 3467100"/>
              <a:gd name="connsiteY4" fmla="*/ 468630 h 2362200"/>
              <a:gd name="connsiteX5" fmla="*/ 125730 w 3467100"/>
              <a:gd name="connsiteY5" fmla="*/ 457200 h 2362200"/>
              <a:gd name="connsiteX6" fmla="*/ 137160 w 3467100"/>
              <a:gd name="connsiteY6" fmla="*/ 449580 h 2362200"/>
              <a:gd name="connsiteX7" fmla="*/ 144780 w 3467100"/>
              <a:gd name="connsiteY7" fmla="*/ 438150 h 2362200"/>
              <a:gd name="connsiteX8" fmla="*/ 179070 w 3467100"/>
              <a:gd name="connsiteY8" fmla="*/ 419100 h 2362200"/>
              <a:gd name="connsiteX9" fmla="*/ 194310 w 3467100"/>
              <a:gd name="connsiteY9" fmla="*/ 415290 h 2362200"/>
              <a:gd name="connsiteX10" fmla="*/ 209550 w 3467100"/>
              <a:gd name="connsiteY10" fmla="*/ 407670 h 2362200"/>
              <a:gd name="connsiteX11" fmla="*/ 220980 w 3467100"/>
              <a:gd name="connsiteY11" fmla="*/ 403860 h 2362200"/>
              <a:gd name="connsiteX12" fmla="*/ 232410 w 3467100"/>
              <a:gd name="connsiteY12" fmla="*/ 396240 h 2362200"/>
              <a:gd name="connsiteX13" fmla="*/ 293370 w 3467100"/>
              <a:gd name="connsiteY13" fmla="*/ 388620 h 2362200"/>
              <a:gd name="connsiteX14" fmla="*/ 438150 w 3467100"/>
              <a:gd name="connsiteY14" fmla="*/ 388620 h 2362200"/>
              <a:gd name="connsiteX15" fmla="*/ 472440 w 3467100"/>
              <a:gd name="connsiteY15" fmla="*/ 396240 h 2362200"/>
              <a:gd name="connsiteX16" fmla="*/ 514350 w 3467100"/>
              <a:gd name="connsiteY16" fmla="*/ 400050 h 2362200"/>
              <a:gd name="connsiteX17" fmla="*/ 548640 w 3467100"/>
              <a:gd name="connsiteY17" fmla="*/ 403860 h 2362200"/>
              <a:gd name="connsiteX18" fmla="*/ 666750 w 3467100"/>
              <a:gd name="connsiteY18" fmla="*/ 400050 h 2362200"/>
              <a:gd name="connsiteX19" fmla="*/ 1497330 w 3467100"/>
              <a:gd name="connsiteY19" fmla="*/ 403860 h 2362200"/>
              <a:gd name="connsiteX20" fmla="*/ 2164080 w 3467100"/>
              <a:gd name="connsiteY20" fmla="*/ 327660 h 2362200"/>
              <a:gd name="connsiteX21" fmla="*/ 2617470 w 3467100"/>
              <a:gd name="connsiteY21" fmla="*/ 274320 h 2362200"/>
              <a:gd name="connsiteX22" fmla="*/ 2613660 w 3467100"/>
              <a:gd name="connsiteY22" fmla="*/ 224790 h 2362200"/>
              <a:gd name="connsiteX23" fmla="*/ 2526030 w 3467100"/>
              <a:gd name="connsiteY23" fmla="*/ 95250 h 2362200"/>
              <a:gd name="connsiteX24" fmla="*/ 2529840 w 3467100"/>
              <a:gd name="connsiteY24" fmla="*/ 53340 h 2362200"/>
              <a:gd name="connsiteX25" fmla="*/ 2617470 w 3467100"/>
              <a:gd name="connsiteY25" fmla="*/ 68580 h 2362200"/>
              <a:gd name="connsiteX26" fmla="*/ 2621280 w 3467100"/>
              <a:gd name="connsiteY26" fmla="*/ 76200 h 2362200"/>
              <a:gd name="connsiteX27" fmla="*/ 2739390 w 3467100"/>
              <a:gd name="connsiteY27" fmla="*/ 163830 h 2362200"/>
              <a:gd name="connsiteX28" fmla="*/ 2979420 w 3467100"/>
              <a:gd name="connsiteY28" fmla="*/ 140970 h 2362200"/>
              <a:gd name="connsiteX29" fmla="*/ 3181350 w 3467100"/>
              <a:gd name="connsiteY29" fmla="*/ 0 h 2362200"/>
              <a:gd name="connsiteX30" fmla="*/ 3219450 w 3467100"/>
              <a:gd name="connsiteY30" fmla="*/ 0 h 2362200"/>
              <a:gd name="connsiteX31" fmla="*/ 3249930 w 3467100"/>
              <a:gd name="connsiteY31" fmla="*/ 11430 h 2362200"/>
              <a:gd name="connsiteX32" fmla="*/ 3253740 w 3467100"/>
              <a:gd name="connsiteY32" fmla="*/ 26670 h 2362200"/>
              <a:gd name="connsiteX33" fmla="*/ 3261360 w 3467100"/>
              <a:gd name="connsiteY33" fmla="*/ 49530 h 2362200"/>
              <a:gd name="connsiteX34" fmla="*/ 3242310 w 3467100"/>
              <a:gd name="connsiteY34" fmla="*/ 95250 h 2362200"/>
              <a:gd name="connsiteX35" fmla="*/ 3227070 w 3467100"/>
              <a:gd name="connsiteY35" fmla="*/ 99060 h 2362200"/>
              <a:gd name="connsiteX36" fmla="*/ 3215640 w 3467100"/>
              <a:gd name="connsiteY36" fmla="*/ 102870 h 2362200"/>
              <a:gd name="connsiteX37" fmla="*/ 3070860 w 3467100"/>
              <a:gd name="connsiteY37" fmla="*/ 190500 h 2362200"/>
              <a:gd name="connsiteX38" fmla="*/ 3352800 w 3467100"/>
              <a:gd name="connsiteY38" fmla="*/ 480060 h 2362200"/>
              <a:gd name="connsiteX39" fmla="*/ 3467100 w 3467100"/>
              <a:gd name="connsiteY39" fmla="*/ 598170 h 2362200"/>
              <a:gd name="connsiteX40" fmla="*/ 3436620 w 3467100"/>
              <a:gd name="connsiteY40" fmla="*/ 742950 h 2362200"/>
              <a:gd name="connsiteX41" fmla="*/ 3360420 w 3467100"/>
              <a:gd name="connsiteY41" fmla="*/ 777240 h 2362200"/>
              <a:gd name="connsiteX42" fmla="*/ 3158490 w 3467100"/>
              <a:gd name="connsiteY42" fmla="*/ 784860 h 2362200"/>
              <a:gd name="connsiteX43" fmla="*/ 2929890 w 3467100"/>
              <a:gd name="connsiteY43" fmla="*/ 872490 h 2362200"/>
              <a:gd name="connsiteX44" fmla="*/ 2800350 w 3467100"/>
              <a:gd name="connsiteY44" fmla="*/ 941070 h 2362200"/>
              <a:gd name="connsiteX45" fmla="*/ 2632710 w 3467100"/>
              <a:gd name="connsiteY45" fmla="*/ 1238250 h 2362200"/>
              <a:gd name="connsiteX46" fmla="*/ 2529840 w 3467100"/>
              <a:gd name="connsiteY46" fmla="*/ 1447800 h 2362200"/>
              <a:gd name="connsiteX47" fmla="*/ 2491740 w 3467100"/>
              <a:gd name="connsiteY47" fmla="*/ 1489710 h 2362200"/>
              <a:gd name="connsiteX48" fmla="*/ 2461260 w 3467100"/>
              <a:gd name="connsiteY48" fmla="*/ 1504950 h 2362200"/>
              <a:gd name="connsiteX49" fmla="*/ 2442210 w 3467100"/>
              <a:gd name="connsiteY49" fmla="*/ 1508760 h 2362200"/>
              <a:gd name="connsiteX50" fmla="*/ 2419350 w 3467100"/>
              <a:gd name="connsiteY50" fmla="*/ 1516380 h 2362200"/>
              <a:gd name="connsiteX51" fmla="*/ 2404110 w 3467100"/>
              <a:gd name="connsiteY51" fmla="*/ 1520190 h 2362200"/>
              <a:gd name="connsiteX52" fmla="*/ 2381250 w 3467100"/>
              <a:gd name="connsiteY52" fmla="*/ 1535430 h 2362200"/>
              <a:gd name="connsiteX53" fmla="*/ 2350770 w 3467100"/>
              <a:gd name="connsiteY53" fmla="*/ 1554480 h 2362200"/>
              <a:gd name="connsiteX54" fmla="*/ 2339340 w 3467100"/>
              <a:gd name="connsiteY54" fmla="*/ 1577340 h 2362200"/>
              <a:gd name="connsiteX55" fmla="*/ 2339340 w 3467100"/>
              <a:gd name="connsiteY55" fmla="*/ 1581150 h 2362200"/>
              <a:gd name="connsiteX56" fmla="*/ 2305050 w 3467100"/>
              <a:gd name="connsiteY56" fmla="*/ 1824990 h 2362200"/>
              <a:gd name="connsiteX57" fmla="*/ 2297430 w 3467100"/>
              <a:gd name="connsiteY57" fmla="*/ 1985010 h 2362200"/>
              <a:gd name="connsiteX58" fmla="*/ 2449830 w 3467100"/>
              <a:gd name="connsiteY58" fmla="*/ 2270760 h 2362200"/>
              <a:gd name="connsiteX59" fmla="*/ 2506980 w 3467100"/>
              <a:gd name="connsiteY59" fmla="*/ 2316480 h 2362200"/>
              <a:gd name="connsiteX60" fmla="*/ 2484120 w 3467100"/>
              <a:gd name="connsiteY60" fmla="*/ 2354580 h 2362200"/>
              <a:gd name="connsiteX61" fmla="*/ 2297430 w 3467100"/>
              <a:gd name="connsiteY61" fmla="*/ 2362200 h 2362200"/>
              <a:gd name="connsiteX62" fmla="*/ 2129790 w 3467100"/>
              <a:gd name="connsiteY62" fmla="*/ 1855470 h 2362200"/>
              <a:gd name="connsiteX63" fmla="*/ 2065020 w 3467100"/>
              <a:gd name="connsiteY63" fmla="*/ 1805940 h 2362200"/>
              <a:gd name="connsiteX64" fmla="*/ 2080260 w 3467100"/>
              <a:gd name="connsiteY64" fmla="*/ 2129790 h 2362200"/>
              <a:gd name="connsiteX65" fmla="*/ 2190750 w 3467100"/>
              <a:gd name="connsiteY65" fmla="*/ 2289810 h 2362200"/>
              <a:gd name="connsiteX66" fmla="*/ 2171700 w 3467100"/>
              <a:gd name="connsiteY66" fmla="*/ 2301240 h 2362200"/>
              <a:gd name="connsiteX67" fmla="*/ 1962150 w 3467100"/>
              <a:gd name="connsiteY67" fmla="*/ 2320290 h 2362200"/>
              <a:gd name="connsiteX68" fmla="*/ 1924050 w 3467100"/>
              <a:gd name="connsiteY68" fmla="*/ 2198370 h 2362200"/>
              <a:gd name="connsiteX69" fmla="*/ 1836420 w 3467100"/>
              <a:gd name="connsiteY69" fmla="*/ 1642110 h 2362200"/>
              <a:gd name="connsiteX70" fmla="*/ 1741170 w 3467100"/>
              <a:gd name="connsiteY70" fmla="*/ 1539240 h 2362200"/>
              <a:gd name="connsiteX71" fmla="*/ 1367790 w 3467100"/>
              <a:gd name="connsiteY71" fmla="*/ 1562100 h 2362200"/>
              <a:gd name="connsiteX72" fmla="*/ 1162050 w 3467100"/>
              <a:gd name="connsiteY72" fmla="*/ 1584960 h 2362200"/>
              <a:gd name="connsiteX73" fmla="*/ 1089660 w 3467100"/>
              <a:gd name="connsiteY73" fmla="*/ 1680210 h 2362200"/>
              <a:gd name="connsiteX74" fmla="*/ 1036320 w 3467100"/>
              <a:gd name="connsiteY74" fmla="*/ 1695450 h 2362200"/>
              <a:gd name="connsiteX75" fmla="*/ 994410 w 3467100"/>
              <a:gd name="connsiteY75" fmla="*/ 1695450 h 2362200"/>
              <a:gd name="connsiteX76" fmla="*/ 975360 w 3467100"/>
              <a:gd name="connsiteY76" fmla="*/ 1813560 h 2362200"/>
              <a:gd name="connsiteX77" fmla="*/ 941070 w 3467100"/>
              <a:gd name="connsiteY77" fmla="*/ 1809750 h 2362200"/>
              <a:gd name="connsiteX78" fmla="*/ 929640 w 3467100"/>
              <a:gd name="connsiteY78" fmla="*/ 1805940 h 2362200"/>
              <a:gd name="connsiteX79" fmla="*/ 925830 w 3467100"/>
              <a:gd name="connsiteY79" fmla="*/ 1790700 h 2362200"/>
              <a:gd name="connsiteX80" fmla="*/ 906780 w 3467100"/>
              <a:gd name="connsiteY80" fmla="*/ 1703070 h 2362200"/>
              <a:gd name="connsiteX81" fmla="*/ 876300 w 3467100"/>
              <a:gd name="connsiteY81" fmla="*/ 1703070 h 2362200"/>
              <a:gd name="connsiteX82" fmla="*/ 857250 w 3467100"/>
              <a:gd name="connsiteY82" fmla="*/ 1802130 h 2362200"/>
              <a:gd name="connsiteX83" fmla="*/ 849630 w 3467100"/>
              <a:gd name="connsiteY83" fmla="*/ 1836420 h 2362200"/>
              <a:gd name="connsiteX84" fmla="*/ 826770 w 3467100"/>
              <a:gd name="connsiteY84" fmla="*/ 1851660 h 2362200"/>
              <a:gd name="connsiteX85" fmla="*/ 811530 w 3467100"/>
              <a:gd name="connsiteY85" fmla="*/ 1847850 h 2362200"/>
              <a:gd name="connsiteX86" fmla="*/ 807720 w 3467100"/>
              <a:gd name="connsiteY86" fmla="*/ 1836420 h 2362200"/>
              <a:gd name="connsiteX87" fmla="*/ 800100 w 3467100"/>
              <a:gd name="connsiteY87" fmla="*/ 1828800 h 2362200"/>
              <a:gd name="connsiteX88" fmla="*/ 773430 w 3467100"/>
              <a:gd name="connsiteY88" fmla="*/ 1710690 h 2362200"/>
              <a:gd name="connsiteX89" fmla="*/ 693420 w 3467100"/>
              <a:gd name="connsiteY89" fmla="*/ 1718310 h 2362200"/>
              <a:gd name="connsiteX90" fmla="*/ 659130 w 3467100"/>
              <a:gd name="connsiteY90" fmla="*/ 1798320 h 2362200"/>
              <a:gd name="connsiteX91" fmla="*/ 678180 w 3467100"/>
              <a:gd name="connsiteY91" fmla="*/ 1840230 h 2362200"/>
              <a:gd name="connsiteX92" fmla="*/ 689610 w 3467100"/>
              <a:gd name="connsiteY92" fmla="*/ 1859280 h 2362200"/>
              <a:gd name="connsiteX93" fmla="*/ 704850 w 3467100"/>
              <a:gd name="connsiteY93" fmla="*/ 1885950 h 2362200"/>
              <a:gd name="connsiteX94" fmla="*/ 708660 w 3467100"/>
              <a:gd name="connsiteY94" fmla="*/ 1897380 h 2362200"/>
              <a:gd name="connsiteX95" fmla="*/ 704850 w 3467100"/>
              <a:gd name="connsiteY95" fmla="*/ 1916430 h 2362200"/>
              <a:gd name="connsiteX96" fmla="*/ 697230 w 3467100"/>
              <a:gd name="connsiteY96" fmla="*/ 1927860 h 2362200"/>
              <a:gd name="connsiteX97" fmla="*/ 701040 w 3467100"/>
              <a:gd name="connsiteY97" fmla="*/ 1939290 h 2362200"/>
              <a:gd name="connsiteX98" fmla="*/ 777240 w 3467100"/>
              <a:gd name="connsiteY98" fmla="*/ 2171700 h 2362200"/>
              <a:gd name="connsiteX99" fmla="*/ 963930 w 3467100"/>
              <a:gd name="connsiteY99" fmla="*/ 2270760 h 2362200"/>
              <a:gd name="connsiteX100" fmla="*/ 944880 w 3467100"/>
              <a:gd name="connsiteY100" fmla="*/ 2320290 h 2362200"/>
              <a:gd name="connsiteX101" fmla="*/ 720090 w 3467100"/>
              <a:gd name="connsiteY101" fmla="*/ 2324100 h 2362200"/>
              <a:gd name="connsiteX102" fmla="*/ 613410 w 3467100"/>
              <a:gd name="connsiteY102" fmla="*/ 2202180 h 2362200"/>
              <a:gd name="connsiteX103" fmla="*/ 434340 w 3467100"/>
              <a:gd name="connsiteY103" fmla="*/ 1687830 h 2362200"/>
              <a:gd name="connsiteX104" fmla="*/ 392430 w 3467100"/>
              <a:gd name="connsiteY104" fmla="*/ 1691640 h 2362200"/>
              <a:gd name="connsiteX105" fmla="*/ 316230 w 3467100"/>
              <a:gd name="connsiteY105" fmla="*/ 2042160 h 2362200"/>
              <a:gd name="connsiteX106" fmla="*/ 388620 w 3467100"/>
              <a:gd name="connsiteY106" fmla="*/ 2266950 h 2362200"/>
              <a:gd name="connsiteX107" fmla="*/ 426720 w 3467100"/>
              <a:gd name="connsiteY107" fmla="*/ 2274570 h 2362200"/>
              <a:gd name="connsiteX108" fmla="*/ 445770 w 3467100"/>
              <a:gd name="connsiteY108" fmla="*/ 2293620 h 2362200"/>
              <a:gd name="connsiteX109" fmla="*/ 453390 w 3467100"/>
              <a:gd name="connsiteY109" fmla="*/ 2301240 h 2362200"/>
              <a:gd name="connsiteX110" fmla="*/ 464820 w 3467100"/>
              <a:gd name="connsiteY110" fmla="*/ 2335530 h 2362200"/>
              <a:gd name="connsiteX111" fmla="*/ 209550 w 3467100"/>
              <a:gd name="connsiteY111" fmla="*/ 2358390 h 2362200"/>
              <a:gd name="connsiteX112" fmla="*/ 144780 w 3467100"/>
              <a:gd name="connsiteY112" fmla="*/ 1767840 h 2362200"/>
              <a:gd name="connsiteX113" fmla="*/ 125730 w 3467100"/>
              <a:gd name="connsiteY113" fmla="*/ 1592580 h 2362200"/>
              <a:gd name="connsiteX114" fmla="*/ 182880 w 3467100"/>
              <a:gd name="connsiteY114" fmla="*/ 1310640 h 2362200"/>
              <a:gd name="connsiteX115" fmla="*/ 118110 w 3467100"/>
              <a:gd name="connsiteY115" fmla="*/ 933450 h 2362200"/>
              <a:gd name="connsiteX116" fmla="*/ 102870 w 3467100"/>
              <a:gd name="connsiteY116" fmla="*/ 929640 h 2362200"/>
              <a:gd name="connsiteX117" fmla="*/ 102870 w 3467100"/>
              <a:gd name="connsiteY117" fmla="*/ 1002030 h 2362200"/>
              <a:gd name="connsiteX118" fmla="*/ 110490 w 3467100"/>
              <a:gd name="connsiteY118" fmla="*/ 1181100 h 2362200"/>
              <a:gd name="connsiteX119" fmla="*/ 95250 w 3467100"/>
              <a:gd name="connsiteY119" fmla="*/ 1322070 h 2362200"/>
              <a:gd name="connsiteX120" fmla="*/ 83820 w 3467100"/>
              <a:gd name="connsiteY120" fmla="*/ 1360170 h 2362200"/>
              <a:gd name="connsiteX121" fmla="*/ 76200 w 3467100"/>
              <a:gd name="connsiteY121" fmla="*/ 1379220 h 2362200"/>
              <a:gd name="connsiteX122" fmla="*/ 64770 w 3467100"/>
              <a:gd name="connsiteY122" fmla="*/ 1383030 h 2362200"/>
              <a:gd name="connsiteX123" fmla="*/ 53340 w 3467100"/>
              <a:gd name="connsiteY123" fmla="*/ 1390650 h 2362200"/>
              <a:gd name="connsiteX124" fmla="*/ 0 w 3467100"/>
              <a:gd name="connsiteY124" fmla="*/ 1398270 h 2362200"/>
              <a:gd name="connsiteX125" fmla="*/ 0 w 3467100"/>
              <a:gd name="connsiteY125" fmla="*/ 1215390 h 2362200"/>
              <a:gd name="connsiteX126" fmla="*/ 38100 w 3467100"/>
              <a:gd name="connsiteY126" fmla="*/ 933450 h 2362200"/>
              <a:gd name="connsiteX127" fmla="*/ 72390 w 3467100"/>
              <a:gd name="connsiteY127" fmla="*/ 601980 h 2362200"/>
              <a:gd name="connsiteX128" fmla="*/ 91440 w 3467100"/>
              <a:gd name="connsiteY128" fmla="*/ 537210 h 2362200"/>
              <a:gd name="connsiteX0" fmla="*/ 91440 w 3467100"/>
              <a:gd name="connsiteY0" fmla="*/ 537210 h 2362200"/>
              <a:gd name="connsiteX1" fmla="*/ 91440 w 3467100"/>
              <a:gd name="connsiteY1" fmla="*/ 537210 h 2362200"/>
              <a:gd name="connsiteX2" fmla="*/ 102870 w 3467100"/>
              <a:gd name="connsiteY2" fmla="*/ 502920 h 2362200"/>
              <a:gd name="connsiteX3" fmla="*/ 106680 w 3467100"/>
              <a:gd name="connsiteY3" fmla="*/ 487680 h 2362200"/>
              <a:gd name="connsiteX4" fmla="*/ 118110 w 3467100"/>
              <a:gd name="connsiteY4" fmla="*/ 468630 h 2362200"/>
              <a:gd name="connsiteX5" fmla="*/ 125730 w 3467100"/>
              <a:gd name="connsiteY5" fmla="*/ 457200 h 2362200"/>
              <a:gd name="connsiteX6" fmla="*/ 137160 w 3467100"/>
              <a:gd name="connsiteY6" fmla="*/ 449580 h 2362200"/>
              <a:gd name="connsiteX7" fmla="*/ 144780 w 3467100"/>
              <a:gd name="connsiteY7" fmla="*/ 438150 h 2362200"/>
              <a:gd name="connsiteX8" fmla="*/ 179070 w 3467100"/>
              <a:gd name="connsiteY8" fmla="*/ 419100 h 2362200"/>
              <a:gd name="connsiteX9" fmla="*/ 194310 w 3467100"/>
              <a:gd name="connsiteY9" fmla="*/ 415290 h 2362200"/>
              <a:gd name="connsiteX10" fmla="*/ 209550 w 3467100"/>
              <a:gd name="connsiteY10" fmla="*/ 407670 h 2362200"/>
              <a:gd name="connsiteX11" fmla="*/ 220980 w 3467100"/>
              <a:gd name="connsiteY11" fmla="*/ 403860 h 2362200"/>
              <a:gd name="connsiteX12" fmla="*/ 232410 w 3467100"/>
              <a:gd name="connsiteY12" fmla="*/ 396240 h 2362200"/>
              <a:gd name="connsiteX13" fmla="*/ 293370 w 3467100"/>
              <a:gd name="connsiteY13" fmla="*/ 388620 h 2362200"/>
              <a:gd name="connsiteX14" fmla="*/ 438150 w 3467100"/>
              <a:gd name="connsiteY14" fmla="*/ 388620 h 2362200"/>
              <a:gd name="connsiteX15" fmla="*/ 472440 w 3467100"/>
              <a:gd name="connsiteY15" fmla="*/ 396240 h 2362200"/>
              <a:gd name="connsiteX16" fmla="*/ 514350 w 3467100"/>
              <a:gd name="connsiteY16" fmla="*/ 400050 h 2362200"/>
              <a:gd name="connsiteX17" fmla="*/ 548640 w 3467100"/>
              <a:gd name="connsiteY17" fmla="*/ 403860 h 2362200"/>
              <a:gd name="connsiteX18" fmla="*/ 666750 w 3467100"/>
              <a:gd name="connsiteY18" fmla="*/ 400050 h 2362200"/>
              <a:gd name="connsiteX19" fmla="*/ 1497330 w 3467100"/>
              <a:gd name="connsiteY19" fmla="*/ 403860 h 2362200"/>
              <a:gd name="connsiteX20" fmla="*/ 2164080 w 3467100"/>
              <a:gd name="connsiteY20" fmla="*/ 327660 h 2362200"/>
              <a:gd name="connsiteX21" fmla="*/ 2617470 w 3467100"/>
              <a:gd name="connsiteY21" fmla="*/ 274320 h 2362200"/>
              <a:gd name="connsiteX22" fmla="*/ 2613660 w 3467100"/>
              <a:gd name="connsiteY22" fmla="*/ 224790 h 2362200"/>
              <a:gd name="connsiteX23" fmla="*/ 2526030 w 3467100"/>
              <a:gd name="connsiteY23" fmla="*/ 95250 h 2362200"/>
              <a:gd name="connsiteX24" fmla="*/ 2529840 w 3467100"/>
              <a:gd name="connsiteY24" fmla="*/ 53340 h 2362200"/>
              <a:gd name="connsiteX25" fmla="*/ 2617470 w 3467100"/>
              <a:gd name="connsiteY25" fmla="*/ 68580 h 2362200"/>
              <a:gd name="connsiteX26" fmla="*/ 2621280 w 3467100"/>
              <a:gd name="connsiteY26" fmla="*/ 76200 h 2362200"/>
              <a:gd name="connsiteX27" fmla="*/ 2739390 w 3467100"/>
              <a:gd name="connsiteY27" fmla="*/ 163830 h 2362200"/>
              <a:gd name="connsiteX28" fmla="*/ 2979420 w 3467100"/>
              <a:gd name="connsiteY28" fmla="*/ 140970 h 2362200"/>
              <a:gd name="connsiteX29" fmla="*/ 3181350 w 3467100"/>
              <a:gd name="connsiteY29" fmla="*/ 0 h 2362200"/>
              <a:gd name="connsiteX30" fmla="*/ 3219450 w 3467100"/>
              <a:gd name="connsiteY30" fmla="*/ 0 h 2362200"/>
              <a:gd name="connsiteX31" fmla="*/ 3249930 w 3467100"/>
              <a:gd name="connsiteY31" fmla="*/ 11430 h 2362200"/>
              <a:gd name="connsiteX32" fmla="*/ 3253740 w 3467100"/>
              <a:gd name="connsiteY32" fmla="*/ 26670 h 2362200"/>
              <a:gd name="connsiteX33" fmla="*/ 3261360 w 3467100"/>
              <a:gd name="connsiteY33" fmla="*/ 49530 h 2362200"/>
              <a:gd name="connsiteX34" fmla="*/ 3242310 w 3467100"/>
              <a:gd name="connsiteY34" fmla="*/ 95250 h 2362200"/>
              <a:gd name="connsiteX35" fmla="*/ 3227070 w 3467100"/>
              <a:gd name="connsiteY35" fmla="*/ 99060 h 2362200"/>
              <a:gd name="connsiteX36" fmla="*/ 3215640 w 3467100"/>
              <a:gd name="connsiteY36" fmla="*/ 102870 h 2362200"/>
              <a:gd name="connsiteX37" fmla="*/ 3070860 w 3467100"/>
              <a:gd name="connsiteY37" fmla="*/ 190500 h 2362200"/>
              <a:gd name="connsiteX38" fmla="*/ 3352800 w 3467100"/>
              <a:gd name="connsiteY38" fmla="*/ 480060 h 2362200"/>
              <a:gd name="connsiteX39" fmla="*/ 3467100 w 3467100"/>
              <a:gd name="connsiteY39" fmla="*/ 598170 h 2362200"/>
              <a:gd name="connsiteX40" fmla="*/ 3436620 w 3467100"/>
              <a:gd name="connsiteY40" fmla="*/ 742950 h 2362200"/>
              <a:gd name="connsiteX41" fmla="*/ 3360420 w 3467100"/>
              <a:gd name="connsiteY41" fmla="*/ 777240 h 2362200"/>
              <a:gd name="connsiteX42" fmla="*/ 3158490 w 3467100"/>
              <a:gd name="connsiteY42" fmla="*/ 784860 h 2362200"/>
              <a:gd name="connsiteX43" fmla="*/ 2929890 w 3467100"/>
              <a:gd name="connsiteY43" fmla="*/ 872490 h 2362200"/>
              <a:gd name="connsiteX44" fmla="*/ 2800350 w 3467100"/>
              <a:gd name="connsiteY44" fmla="*/ 941070 h 2362200"/>
              <a:gd name="connsiteX45" fmla="*/ 2632710 w 3467100"/>
              <a:gd name="connsiteY45" fmla="*/ 1238250 h 2362200"/>
              <a:gd name="connsiteX46" fmla="*/ 2529840 w 3467100"/>
              <a:gd name="connsiteY46" fmla="*/ 1447800 h 2362200"/>
              <a:gd name="connsiteX47" fmla="*/ 2491740 w 3467100"/>
              <a:gd name="connsiteY47" fmla="*/ 1489710 h 2362200"/>
              <a:gd name="connsiteX48" fmla="*/ 2461260 w 3467100"/>
              <a:gd name="connsiteY48" fmla="*/ 1504950 h 2362200"/>
              <a:gd name="connsiteX49" fmla="*/ 2442210 w 3467100"/>
              <a:gd name="connsiteY49" fmla="*/ 1508760 h 2362200"/>
              <a:gd name="connsiteX50" fmla="*/ 2419350 w 3467100"/>
              <a:gd name="connsiteY50" fmla="*/ 1516380 h 2362200"/>
              <a:gd name="connsiteX51" fmla="*/ 2404110 w 3467100"/>
              <a:gd name="connsiteY51" fmla="*/ 1520190 h 2362200"/>
              <a:gd name="connsiteX52" fmla="*/ 2381250 w 3467100"/>
              <a:gd name="connsiteY52" fmla="*/ 1535430 h 2362200"/>
              <a:gd name="connsiteX53" fmla="*/ 2350770 w 3467100"/>
              <a:gd name="connsiteY53" fmla="*/ 1554480 h 2362200"/>
              <a:gd name="connsiteX54" fmla="*/ 2339340 w 3467100"/>
              <a:gd name="connsiteY54" fmla="*/ 1577340 h 2362200"/>
              <a:gd name="connsiteX55" fmla="*/ 2339340 w 3467100"/>
              <a:gd name="connsiteY55" fmla="*/ 1581150 h 2362200"/>
              <a:gd name="connsiteX56" fmla="*/ 2305050 w 3467100"/>
              <a:gd name="connsiteY56" fmla="*/ 1824990 h 2362200"/>
              <a:gd name="connsiteX57" fmla="*/ 2297430 w 3467100"/>
              <a:gd name="connsiteY57" fmla="*/ 1985010 h 2362200"/>
              <a:gd name="connsiteX58" fmla="*/ 2449830 w 3467100"/>
              <a:gd name="connsiteY58" fmla="*/ 2270760 h 2362200"/>
              <a:gd name="connsiteX59" fmla="*/ 2506980 w 3467100"/>
              <a:gd name="connsiteY59" fmla="*/ 2316480 h 2362200"/>
              <a:gd name="connsiteX60" fmla="*/ 2484120 w 3467100"/>
              <a:gd name="connsiteY60" fmla="*/ 2354580 h 2362200"/>
              <a:gd name="connsiteX61" fmla="*/ 2297430 w 3467100"/>
              <a:gd name="connsiteY61" fmla="*/ 2362200 h 2362200"/>
              <a:gd name="connsiteX62" fmla="*/ 2129790 w 3467100"/>
              <a:gd name="connsiteY62" fmla="*/ 1855470 h 2362200"/>
              <a:gd name="connsiteX63" fmla="*/ 2065020 w 3467100"/>
              <a:gd name="connsiteY63" fmla="*/ 1805940 h 2362200"/>
              <a:gd name="connsiteX64" fmla="*/ 2080260 w 3467100"/>
              <a:gd name="connsiteY64" fmla="*/ 2129790 h 2362200"/>
              <a:gd name="connsiteX65" fmla="*/ 2190750 w 3467100"/>
              <a:gd name="connsiteY65" fmla="*/ 2289810 h 2362200"/>
              <a:gd name="connsiteX66" fmla="*/ 2171700 w 3467100"/>
              <a:gd name="connsiteY66" fmla="*/ 2301240 h 2362200"/>
              <a:gd name="connsiteX67" fmla="*/ 1962150 w 3467100"/>
              <a:gd name="connsiteY67" fmla="*/ 2320290 h 2362200"/>
              <a:gd name="connsiteX68" fmla="*/ 1924050 w 3467100"/>
              <a:gd name="connsiteY68" fmla="*/ 2198370 h 2362200"/>
              <a:gd name="connsiteX69" fmla="*/ 1836420 w 3467100"/>
              <a:gd name="connsiteY69" fmla="*/ 1642110 h 2362200"/>
              <a:gd name="connsiteX70" fmla="*/ 1741170 w 3467100"/>
              <a:gd name="connsiteY70" fmla="*/ 1539240 h 2362200"/>
              <a:gd name="connsiteX71" fmla="*/ 1367790 w 3467100"/>
              <a:gd name="connsiteY71" fmla="*/ 1562100 h 2362200"/>
              <a:gd name="connsiteX72" fmla="*/ 1162050 w 3467100"/>
              <a:gd name="connsiteY72" fmla="*/ 1584960 h 2362200"/>
              <a:gd name="connsiteX73" fmla="*/ 1089660 w 3467100"/>
              <a:gd name="connsiteY73" fmla="*/ 1680210 h 2362200"/>
              <a:gd name="connsiteX74" fmla="*/ 1036320 w 3467100"/>
              <a:gd name="connsiteY74" fmla="*/ 1695450 h 2362200"/>
              <a:gd name="connsiteX75" fmla="*/ 994410 w 3467100"/>
              <a:gd name="connsiteY75" fmla="*/ 1695450 h 2362200"/>
              <a:gd name="connsiteX76" fmla="*/ 975360 w 3467100"/>
              <a:gd name="connsiteY76" fmla="*/ 1813560 h 2362200"/>
              <a:gd name="connsiteX77" fmla="*/ 941070 w 3467100"/>
              <a:gd name="connsiteY77" fmla="*/ 1809750 h 2362200"/>
              <a:gd name="connsiteX78" fmla="*/ 929640 w 3467100"/>
              <a:gd name="connsiteY78" fmla="*/ 1805940 h 2362200"/>
              <a:gd name="connsiteX79" fmla="*/ 925830 w 3467100"/>
              <a:gd name="connsiteY79" fmla="*/ 1790700 h 2362200"/>
              <a:gd name="connsiteX80" fmla="*/ 906780 w 3467100"/>
              <a:gd name="connsiteY80" fmla="*/ 1703070 h 2362200"/>
              <a:gd name="connsiteX81" fmla="*/ 876300 w 3467100"/>
              <a:gd name="connsiteY81" fmla="*/ 1703070 h 2362200"/>
              <a:gd name="connsiteX82" fmla="*/ 857250 w 3467100"/>
              <a:gd name="connsiteY82" fmla="*/ 1802130 h 2362200"/>
              <a:gd name="connsiteX83" fmla="*/ 849630 w 3467100"/>
              <a:gd name="connsiteY83" fmla="*/ 1836420 h 2362200"/>
              <a:gd name="connsiteX84" fmla="*/ 826770 w 3467100"/>
              <a:gd name="connsiteY84" fmla="*/ 1851660 h 2362200"/>
              <a:gd name="connsiteX85" fmla="*/ 811530 w 3467100"/>
              <a:gd name="connsiteY85" fmla="*/ 1847850 h 2362200"/>
              <a:gd name="connsiteX86" fmla="*/ 807720 w 3467100"/>
              <a:gd name="connsiteY86" fmla="*/ 1836420 h 2362200"/>
              <a:gd name="connsiteX87" fmla="*/ 800100 w 3467100"/>
              <a:gd name="connsiteY87" fmla="*/ 1828800 h 2362200"/>
              <a:gd name="connsiteX88" fmla="*/ 773430 w 3467100"/>
              <a:gd name="connsiteY88" fmla="*/ 1710690 h 2362200"/>
              <a:gd name="connsiteX89" fmla="*/ 693420 w 3467100"/>
              <a:gd name="connsiteY89" fmla="*/ 1718310 h 2362200"/>
              <a:gd name="connsiteX90" fmla="*/ 659130 w 3467100"/>
              <a:gd name="connsiteY90" fmla="*/ 1798320 h 2362200"/>
              <a:gd name="connsiteX91" fmla="*/ 678180 w 3467100"/>
              <a:gd name="connsiteY91" fmla="*/ 1840230 h 2362200"/>
              <a:gd name="connsiteX92" fmla="*/ 689610 w 3467100"/>
              <a:gd name="connsiteY92" fmla="*/ 1859280 h 2362200"/>
              <a:gd name="connsiteX93" fmla="*/ 708660 w 3467100"/>
              <a:gd name="connsiteY93" fmla="*/ 1897380 h 2362200"/>
              <a:gd name="connsiteX94" fmla="*/ 704850 w 3467100"/>
              <a:gd name="connsiteY94" fmla="*/ 1916430 h 2362200"/>
              <a:gd name="connsiteX95" fmla="*/ 697230 w 3467100"/>
              <a:gd name="connsiteY95" fmla="*/ 1927860 h 2362200"/>
              <a:gd name="connsiteX96" fmla="*/ 701040 w 3467100"/>
              <a:gd name="connsiteY96" fmla="*/ 1939290 h 2362200"/>
              <a:gd name="connsiteX97" fmla="*/ 777240 w 3467100"/>
              <a:gd name="connsiteY97" fmla="*/ 2171700 h 2362200"/>
              <a:gd name="connsiteX98" fmla="*/ 963930 w 3467100"/>
              <a:gd name="connsiteY98" fmla="*/ 2270760 h 2362200"/>
              <a:gd name="connsiteX99" fmla="*/ 944880 w 3467100"/>
              <a:gd name="connsiteY99" fmla="*/ 2320290 h 2362200"/>
              <a:gd name="connsiteX100" fmla="*/ 720090 w 3467100"/>
              <a:gd name="connsiteY100" fmla="*/ 2324100 h 2362200"/>
              <a:gd name="connsiteX101" fmla="*/ 613410 w 3467100"/>
              <a:gd name="connsiteY101" fmla="*/ 2202180 h 2362200"/>
              <a:gd name="connsiteX102" fmla="*/ 434340 w 3467100"/>
              <a:gd name="connsiteY102" fmla="*/ 1687830 h 2362200"/>
              <a:gd name="connsiteX103" fmla="*/ 392430 w 3467100"/>
              <a:gd name="connsiteY103" fmla="*/ 1691640 h 2362200"/>
              <a:gd name="connsiteX104" fmla="*/ 316230 w 3467100"/>
              <a:gd name="connsiteY104" fmla="*/ 2042160 h 2362200"/>
              <a:gd name="connsiteX105" fmla="*/ 388620 w 3467100"/>
              <a:gd name="connsiteY105" fmla="*/ 2266950 h 2362200"/>
              <a:gd name="connsiteX106" fmla="*/ 426720 w 3467100"/>
              <a:gd name="connsiteY106" fmla="*/ 2274570 h 2362200"/>
              <a:gd name="connsiteX107" fmla="*/ 445770 w 3467100"/>
              <a:gd name="connsiteY107" fmla="*/ 2293620 h 2362200"/>
              <a:gd name="connsiteX108" fmla="*/ 453390 w 3467100"/>
              <a:gd name="connsiteY108" fmla="*/ 2301240 h 2362200"/>
              <a:gd name="connsiteX109" fmla="*/ 464820 w 3467100"/>
              <a:gd name="connsiteY109" fmla="*/ 2335530 h 2362200"/>
              <a:gd name="connsiteX110" fmla="*/ 209550 w 3467100"/>
              <a:gd name="connsiteY110" fmla="*/ 2358390 h 2362200"/>
              <a:gd name="connsiteX111" fmla="*/ 144780 w 3467100"/>
              <a:gd name="connsiteY111" fmla="*/ 1767840 h 2362200"/>
              <a:gd name="connsiteX112" fmla="*/ 125730 w 3467100"/>
              <a:gd name="connsiteY112" fmla="*/ 1592580 h 2362200"/>
              <a:gd name="connsiteX113" fmla="*/ 182880 w 3467100"/>
              <a:gd name="connsiteY113" fmla="*/ 1310640 h 2362200"/>
              <a:gd name="connsiteX114" fmla="*/ 118110 w 3467100"/>
              <a:gd name="connsiteY114" fmla="*/ 933450 h 2362200"/>
              <a:gd name="connsiteX115" fmla="*/ 102870 w 3467100"/>
              <a:gd name="connsiteY115" fmla="*/ 929640 h 2362200"/>
              <a:gd name="connsiteX116" fmla="*/ 102870 w 3467100"/>
              <a:gd name="connsiteY116" fmla="*/ 1002030 h 2362200"/>
              <a:gd name="connsiteX117" fmla="*/ 110490 w 3467100"/>
              <a:gd name="connsiteY117" fmla="*/ 1181100 h 2362200"/>
              <a:gd name="connsiteX118" fmla="*/ 95250 w 3467100"/>
              <a:gd name="connsiteY118" fmla="*/ 1322070 h 2362200"/>
              <a:gd name="connsiteX119" fmla="*/ 83820 w 3467100"/>
              <a:gd name="connsiteY119" fmla="*/ 1360170 h 2362200"/>
              <a:gd name="connsiteX120" fmla="*/ 76200 w 3467100"/>
              <a:gd name="connsiteY120" fmla="*/ 1379220 h 2362200"/>
              <a:gd name="connsiteX121" fmla="*/ 64770 w 3467100"/>
              <a:gd name="connsiteY121" fmla="*/ 1383030 h 2362200"/>
              <a:gd name="connsiteX122" fmla="*/ 53340 w 3467100"/>
              <a:gd name="connsiteY122" fmla="*/ 1390650 h 2362200"/>
              <a:gd name="connsiteX123" fmla="*/ 0 w 3467100"/>
              <a:gd name="connsiteY123" fmla="*/ 1398270 h 2362200"/>
              <a:gd name="connsiteX124" fmla="*/ 0 w 3467100"/>
              <a:gd name="connsiteY124" fmla="*/ 1215390 h 2362200"/>
              <a:gd name="connsiteX125" fmla="*/ 38100 w 3467100"/>
              <a:gd name="connsiteY125" fmla="*/ 933450 h 2362200"/>
              <a:gd name="connsiteX126" fmla="*/ 72390 w 3467100"/>
              <a:gd name="connsiteY126" fmla="*/ 601980 h 2362200"/>
              <a:gd name="connsiteX127" fmla="*/ 91440 w 3467100"/>
              <a:gd name="connsiteY127" fmla="*/ 537210 h 2362200"/>
              <a:gd name="connsiteX0" fmla="*/ 91440 w 3467100"/>
              <a:gd name="connsiteY0" fmla="*/ 537210 h 2362200"/>
              <a:gd name="connsiteX1" fmla="*/ 91440 w 3467100"/>
              <a:gd name="connsiteY1" fmla="*/ 537210 h 2362200"/>
              <a:gd name="connsiteX2" fmla="*/ 102870 w 3467100"/>
              <a:gd name="connsiteY2" fmla="*/ 502920 h 2362200"/>
              <a:gd name="connsiteX3" fmla="*/ 106680 w 3467100"/>
              <a:gd name="connsiteY3" fmla="*/ 487680 h 2362200"/>
              <a:gd name="connsiteX4" fmla="*/ 118110 w 3467100"/>
              <a:gd name="connsiteY4" fmla="*/ 468630 h 2362200"/>
              <a:gd name="connsiteX5" fmla="*/ 125730 w 3467100"/>
              <a:gd name="connsiteY5" fmla="*/ 457200 h 2362200"/>
              <a:gd name="connsiteX6" fmla="*/ 137160 w 3467100"/>
              <a:gd name="connsiteY6" fmla="*/ 449580 h 2362200"/>
              <a:gd name="connsiteX7" fmla="*/ 144780 w 3467100"/>
              <a:gd name="connsiteY7" fmla="*/ 438150 h 2362200"/>
              <a:gd name="connsiteX8" fmla="*/ 179070 w 3467100"/>
              <a:gd name="connsiteY8" fmla="*/ 419100 h 2362200"/>
              <a:gd name="connsiteX9" fmla="*/ 194310 w 3467100"/>
              <a:gd name="connsiteY9" fmla="*/ 415290 h 2362200"/>
              <a:gd name="connsiteX10" fmla="*/ 209550 w 3467100"/>
              <a:gd name="connsiteY10" fmla="*/ 407670 h 2362200"/>
              <a:gd name="connsiteX11" fmla="*/ 220980 w 3467100"/>
              <a:gd name="connsiteY11" fmla="*/ 403860 h 2362200"/>
              <a:gd name="connsiteX12" fmla="*/ 232410 w 3467100"/>
              <a:gd name="connsiteY12" fmla="*/ 396240 h 2362200"/>
              <a:gd name="connsiteX13" fmla="*/ 293370 w 3467100"/>
              <a:gd name="connsiteY13" fmla="*/ 388620 h 2362200"/>
              <a:gd name="connsiteX14" fmla="*/ 438150 w 3467100"/>
              <a:gd name="connsiteY14" fmla="*/ 388620 h 2362200"/>
              <a:gd name="connsiteX15" fmla="*/ 472440 w 3467100"/>
              <a:gd name="connsiteY15" fmla="*/ 396240 h 2362200"/>
              <a:gd name="connsiteX16" fmla="*/ 514350 w 3467100"/>
              <a:gd name="connsiteY16" fmla="*/ 400050 h 2362200"/>
              <a:gd name="connsiteX17" fmla="*/ 548640 w 3467100"/>
              <a:gd name="connsiteY17" fmla="*/ 403860 h 2362200"/>
              <a:gd name="connsiteX18" fmla="*/ 666750 w 3467100"/>
              <a:gd name="connsiteY18" fmla="*/ 400050 h 2362200"/>
              <a:gd name="connsiteX19" fmla="*/ 1497330 w 3467100"/>
              <a:gd name="connsiteY19" fmla="*/ 403860 h 2362200"/>
              <a:gd name="connsiteX20" fmla="*/ 2164080 w 3467100"/>
              <a:gd name="connsiteY20" fmla="*/ 327660 h 2362200"/>
              <a:gd name="connsiteX21" fmla="*/ 2617470 w 3467100"/>
              <a:gd name="connsiteY21" fmla="*/ 274320 h 2362200"/>
              <a:gd name="connsiteX22" fmla="*/ 2613660 w 3467100"/>
              <a:gd name="connsiteY22" fmla="*/ 224790 h 2362200"/>
              <a:gd name="connsiteX23" fmla="*/ 2526030 w 3467100"/>
              <a:gd name="connsiteY23" fmla="*/ 95250 h 2362200"/>
              <a:gd name="connsiteX24" fmla="*/ 2529840 w 3467100"/>
              <a:gd name="connsiteY24" fmla="*/ 53340 h 2362200"/>
              <a:gd name="connsiteX25" fmla="*/ 2617470 w 3467100"/>
              <a:gd name="connsiteY25" fmla="*/ 68580 h 2362200"/>
              <a:gd name="connsiteX26" fmla="*/ 2621280 w 3467100"/>
              <a:gd name="connsiteY26" fmla="*/ 76200 h 2362200"/>
              <a:gd name="connsiteX27" fmla="*/ 2739390 w 3467100"/>
              <a:gd name="connsiteY27" fmla="*/ 163830 h 2362200"/>
              <a:gd name="connsiteX28" fmla="*/ 2979420 w 3467100"/>
              <a:gd name="connsiteY28" fmla="*/ 140970 h 2362200"/>
              <a:gd name="connsiteX29" fmla="*/ 3181350 w 3467100"/>
              <a:gd name="connsiteY29" fmla="*/ 0 h 2362200"/>
              <a:gd name="connsiteX30" fmla="*/ 3219450 w 3467100"/>
              <a:gd name="connsiteY30" fmla="*/ 0 h 2362200"/>
              <a:gd name="connsiteX31" fmla="*/ 3249930 w 3467100"/>
              <a:gd name="connsiteY31" fmla="*/ 11430 h 2362200"/>
              <a:gd name="connsiteX32" fmla="*/ 3253740 w 3467100"/>
              <a:gd name="connsiteY32" fmla="*/ 26670 h 2362200"/>
              <a:gd name="connsiteX33" fmla="*/ 3261360 w 3467100"/>
              <a:gd name="connsiteY33" fmla="*/ 49530 h 2362200"/>
              <a:gd name="connsiteX34" fmla="*/ 3242310 w 3467100"/>
              <a:gd name="connsiteY34" fmla="*/ 95250 h 2362200"/>
              <a:gd name="connsiteX35" fmla="*/ 3227070 w 3467100"/>
              <a:gd name="connsiteY35" fmla="*/ 99060 h 2362200"/>
              <a:gd name="connsiteX36" fmla="*/ 3215640 w 3467100"/>
              <a:gd name="connsiteY36" fmla="*/ 102870 h 2362200"/>
              <a:gd name="connsiteX37" fmla="*/ 3070860 w 3467100"/>
              <a:gd name="connsiteY37" fmla="*/ 190500 h 2362200"/>
              <a:gd name="connsiteX38" fmla="*/ 3352800 w 3467100"/>
              <a:gd name="connsiteY38" fmla="*/ 480060 h 2362200"/>
              <a:gd name="connsiteX39" fmla="*/ 3467100 w 3467100"/>
              <a:gd name="connsiteY39" fmla="*/ 598170 h 2362200"/>
              <a:gd name="connsiteX40" fmla="*/ 3436620 w 3467100"/>
              <a:gd name="connsiteY40" fmla="*/ 742950 h 2362200"/>
              <a:gd name="connsiteX41" fmla="*/ 3360420 w 3467100"/>
              <a:gd name="connsiteY41" fmla="*/ 777240 h 2362200"/>
              <a:gd name="connsiteX42" fmla="*/ 3158490 w 3467100"/>
              <a:gd name="connsiteY42" fmla="*/ 784860 h 2362200"/>
              <a:gd name="connsiteX43" fmla="*/ 2929890 w 3467100"/>
              <a:gd name="connsiteY43" fmla="*/ 872490 h 2362200"/>
              <a:gd name="connsiteX44" fmla="*/ 2800350 w 3467100"/>
              <a:gd name="connsiteY44" fmla="*/ 941070 h 2362200"/>
              <a:gd name="connsiteX45" fmla="*/ 2632710 w 3467100"/>
              <a:gd name="connsiteY45" fmla="*/ 1238250 h 2362200"/>
              <a:gd name="connsiteX46" fmla="*/ 2529840 w 3467100"/>
              <a:gd name="connsiteY46" fmla="*/ 1447800 h 2362200"/>
              <a:gd name="connsiteX47" fmla="*/ 2491740 w 3467100"/>
              <a:gd name="connsiteY47" fmla="*/ 1489710 h 2362200"/>
              <a:gd name="connsiteX48" fmla="*/ 2461260 w 3467100"/>
              <a:gd name="connsiteY48" fmla="*/ 1504950 h 2362200"/>
              <a:gd name="connsiteX49" fmla="*/ 2442210 w 3467100"/>
              <a:gd name="connsiteY49" fmla="*/ 1508760 h 2362200"/>
              <a:gd name="connsiteX50" fmla="*/ 2419350 w 3467100"/>
              <a:gd name="connsiteY50" fmla="*/ 1516380 h 2362200"/>
              <a:gd name="connsiteX51" fmla="*/ 2404110 w 3467100"/>
              <a:gd name="connsiteY51" fmla="*/ 1520190 h 2362200"/>
              <a:gd name="connsiteX52" fmla="*/ 2381250 w 3467100"/>
              <a:gd name="connsiteY52" fmla="*/ 1535430 h 2362200"/>
              <a:gd name="connsiteX53" fmla="*/ 2350770 w 3467100"/>
              <a:gd name="connsiteY53" fmla="*/ 1554480 h 2362200"/>
              <a:gd name="connsiteX54" fmla="*/ 2339340 w 3467100"/>
              <a:gd name="connsiteY54" fmla="*/ 1577340 h 2362200"/>
              <a:gd name="connsiteX55" fmla="*/ 2339340 w 3467100"/>
              <a:gd name="connsiteY55" fmla="*/ 1581150 h 2362200"/>
              <a:gd name="connsiteX56" fmla="*/ 2305050 w 3467100"/>
              <a:gd name="connsiteY56" fmla="*/ 1824990 h 2362200"/>
              <a:gd name="connsiteX57" fmla="*/ 2297430 w 3467100"/>
              <a:gd name="connsiteY57" fmla="*/ 1985010 h 2362200"/>
              <a:gd name="connsiteX58" fmla="*/ 2449830 w 3467100"/>
              <a:gd name="connsiteY58" fmla="*/ 2270760 h 2362200"/>
              <a:gd name="connsiteX59" fmla="*/ 2506980 w 3467100"/>
              <a:gd name="connsiteY59" fmla="*/ 2316480 h 2362200"/>
              <a:gd name="connsiteX60" fmla="*/ 2484120 w 3467100"/>
              <a:gd name="connsiteY60" fmla="*/ 2354580 h 2362200"/>
              <a:gd name="connsiteX61" fmla="*/ 2297430 w 3467100"/>
              <a:gd name="connsiteY61" fmla="*/ 2362200 h 2362200"/>
              <a:gd name="connsiteX62" fmla="*/ 2129790 w 3467100"/>
              <a:gd name="connsiteY62" fmla="*/ 1855470 h 2362200"/>
              <a:gd name="connsiteX63" fmla="*/ 2065020 w 3467100"/>
              <a:gd name="connsiteY63" fmla="*/ 1805940 h 2362200"/>
              <a:gd name="connsiteX64" fmla="*/ 2080260 w 3467100"/>
              <a:gd name="connsiteY64" fmla="*/ 2129790 h 2362200"/>
              <a:gd name="connsiteX65" fmla="*/ 2190750 w 3467100"/>
              <a:gd name="connsiteY65" fmla="*/ 2289810 h 2362200"/>
              <a:gd name="connsiteX66" fmla="*/ 2171700 w 3467100"/>
              <a:gd name="connsiteY66" fmla="*/ 2301240 h 2362200"/>
              <a:gd name="connsiteX67" fmla="*/ 1962150 w 3467100"/>
              <a:gd name="connsiteY67" fmla="*/ 2320290 h 2362200"/>
              <a:gd name="connsiteX68" fmla="*/ 1924050 w 3467100"/>
              <a:gd name="connsiteY68" fmla="*/ 2198370 h 2362200"/>
              <a:gd name="connsiteX69" fmla="*/ 1836420 w 3467100"/>
              <a:gd name="connsiteY69" fmla="*/ 1642110 h 2362200"/>
              <a:gd name="connsiteX70" fmla="*/ 1741170 w 3467100"/>
              <a:gd name="connsiteY70" fmla="*/ 1539240 h 2362200"/>
              <a:gd name="connsiteX71" fmla="*/ 1367790 w 3467100"/>
              <a:gd name="connsiteY71" fmla="*/ 1562100 h 2362200"/>
              <a:gd name="connsiteX72" fmla="*/ 1162050 w 3467100"/>
              <a:gd name="connsiteY72" fmla="*/ 1584960 h 2362200"/>
              <a:gd name="connsiteX73" fmla="*/ 1089660 w 3467100"/>
              <a:gd name="connsiteY73" fmla="*/ 1680210 h 2362200"/>
              <a:gd name="connsiteX74" fmla="*/ 1036320 w 3467100"/>
              <a:gd name="connsiteY74" fmla="*/ 1695450 h 2362200"/>
              <a:gd name="connsiteX75" fmla="*/ 994410 w 3467100"/>
              <a:gd name="connsiteY75" fmla="*/ 1695450 h 2362200"/>
              <a:gd name="connsiteX76" fmla="*/ 975360 w 3467100"/>
              <a:gd name="connsiteY76" fmla="*/ 1813560 h 2362200"/>
              <a:gd name="connsiteX77" fmla="*/ 941070 w 3467100"/>
              <a:gd name="connsiteY77" fmla="*/ 1809750 h 2362200"/>
              <a:gd name="connsiteX78" fmla="*/ 929640 w 3467100"/>
              <a:gd name="connsiteY78" fmla="*/ 1805940 h 2362200"/>
              <a:gd name="connsiteX79" fmla="*/ 925830 w 3467100"/>
              <a:gd name="connsiteY79" fmla="*/ 1790700 h 2362200"/>
              <a:gd name="connsiteX80" fmla="*/ 906780 w 3467100"/>
              <a:gd name="connsiteY80" fmla="*/ 1703070 h 2362200"/>
              <a:gd name="connsiteX81" fmla="*/ 876300 w 3467100"/>
              <a:gd name="connsiteY81" fmla="*/ 1703070 h 2362200"/>
              <a:gd name="connsiteX82" fmla="*/ 857250 w 3467100"/>
              <a:gd name="connsiteY82" fmla="*/ 1802130 h 2362200"/>
              <a:gd name="connsiteX83" fmla="*/ 849630 w 3467100"/>
              <a:gd name="connsiteY83" fmla="*/ 1836420 h 2362200"/>
              <a:gd name="connsiteX84" fmla="*/ 826770 w 3467100"/>
              <a:gd name="connsiteY84" fmla="*/ 1851660 h 2362200"/>
              <a:gd name="connsiteX85" fmla="*/ 811530 w 3467100"/>
              <a:gd name="connsiteY85" fmla="*/ 1847850 h 2362200"/>
              <a:gd name="connsiteX86" fmla="*/ 807720 w 3467100"/>
              <a:gd name="connsiteY86" fmla="*/ 1836420 h 2362200"/>
              <a:gd name="connsiteX87" fmla="*/ 800100 w 3467100"/>
              <a:gd name="connsiteY87" fmla="*/ 1828800 h 2362200"/>
              <a:gd name="connsiteX88" fmla="*/ 773430 w 3467100"/>
              <a:gd name="connsiteY88" fmla="*/ 1710690 h 2362200"/>
              <a:gd name="connsiteX89" fmla="*/ 693420 w 3467100"/>
              <a:gd name="connsiteY89" fmla="*/ 1718310 h 2362200"/>
              <a:gd name="connsiteX90" fmla="*/ 659130 w 3467100"/>
              <a:gd name="connsiteY90" fmla="*/ 1798320 h 2362200"/>
              <a:gd name="connsiteX91" fmla="*/ 678180 w 3467100"/>
              <a:gd name="connsiteY91" fmla="*/ 1840230 h 2362200"/>
              <a:gd name="connsiteX92" fmla="*/ 689610 w 3467100"/>
              <a:gd name="connsiteY92" fmla="*/ 1859280 h 2362200"/>
              <a:gd name="connsiteX93" fmla="*/ 704850 w 3467100"/>
              <a:gd name="connsiteY93" fmla="*/ 1916430 h 2362200"/>
              <a:gd name="connsiteX94" fmla="*/ 697230 w 3467100"/>
              <a:gd name="connsiteY94" fmla="*/ 1927860 h 2362200"/>
              <a:gd name="connsiteX95" fmla="*/ 701040 w 3467100"/>
              <a:gd name="connsiteY95" fmla="*/ 1939290 h 2362200"/>
              <a:gd name="connsiteX96" fmla="*/ 777240 w 3467100"/>
              <a:gd name="connsiteY96" fmla="*/ 2171700 h 2362200"/>
              <a:gd name="connsiteX97" fmla="*/ 963930 w 3467100"/>
              <a:gd name="connsiteY97" fmla="*/ 2270760 h 2362200"/>
              <a:gd name="connsiteX98" fmla="*/ 944880 w 3467100"/>
              <a:gd name="connsiteY98" fmla="*/ 2320290 h 2362200"/>
              <a:gd name="connsiteX99" fmla="*/ 720090 w 3467100"/>
              <a:gd name="connsiteY99" fmla="*/ 2324100 h 2362200"/>
              <a:gd name="connsiteX100" fmla="*/ 613410 w 3467100"/>
              <a:gd name="connsiteY100" fmla="*/ 2202180 h 2362200"/>
              <a:gd name="connsiteX101" fmla="*/ 434340 w 3467100"/>
              <a:gd name="connsiteY101" fmla="*/ 1687830 h 2362200"/>
              <a:gd name="connsiteX102" fmla="*/ 392430 w 3467100"/>
              <a:gd name="connsiteY102" fmla="*/ 1691640 h 2362200"/>
              <a:gd name="connsiteX103" fmla="*/ 316230 w 3467100"/>
              <a:gd name="connsiteY103" fmla="*/ 2042160 h 2362200"/>
              <a:gd name="connsiteX104" fmla="*/ 388620 w 3467100"/>
              <a:gd name="connsiteY104" fmla="*/ 2266950 h 2362200"/>
              <a:gd name="connsiteX105" fmla="*/ 426720 w 3467100"/>
              <a:gd name="connsiteY105" fmla="*/ 2274570 h 2362200"/>
              <a:gd name="connsiteX106" fmla="*/ 445770 w 3467100"/>
              <a:gd name="connsiteY106" fmla="*/ 2293620 h 2362200"/>
              <a:gd name="connsiteX107" fmla="*/ 453390 w 3467100"/>
              <a:gd name="connsiteY107" fmla="*/ 2301240 h 2362200"/>
              <a:gd name="connsiteX108" fmla="*/ 464820 w 3467100"/>
              <a:gd name="connsiteY108" fmla="*/ 2335530 h 2362200"/>
              <a:gd name="connsiteX109" fmla="*/ 209550 w 3467100"/>
              <a:gd name="connsiteY109" fmla="*/ 2358390 h 2362200"/>
              <a:gd name="connsiteX110" fmla="*/ 144780 w 3467100"/>
              <a:gd name="connsiteY110" fmla="*/ 1767840 h 2362200"/>
              <a:gd name="connsiteX111" fmla="*/ 125730 w 3467100"/>
              <a:gd name="connsiteY111" fmla="*/ 1592580 h 2362200"/>
              <a:gd name="connsiteX112" fmla="*/ 182880 w 3467100"/>
              <a:gd name="connsiteY112" fmla="*/ 1310640 h 2362200"/>
              <a:gd name="connsiteX113" fmla="*/ 118110 w 3467100"/>
              <a:gd name="connsiteY113" fmla="*/ 933450 h 2362200"/>
              <a:gd name="connsiteX114" fmla="*/ 102870 w 3467100"/>
              <a:gd name="connsiteY114" fmla="*/ 929640 h 2362200"/>
              <a:gd name="connsiteX115" fmla="*/ 102870 w 3467100"/>
              <a:gd name="connsiteY115" fmla="*/ 1002030 h 2362200"/>
              <a:gd name="connsiteX116" fmla="*/ 110490 w 3467100"/>
              <a:gd name="connsiteY116" fmla="*/ 1181100 h 2362200"/>
              <a:gd name="connsiteX117" fmla="*/ 95250 w 3467100"/>
              <a:gd name="connsiteY117" fmla="*/ 1322070 h 2362200"/>
              <a:gd name="connsiteX118" fmla="*/ 83820 w 3467100"/>
              <a:gd name="connsiteY118" fmla="*/ 1360170 h 2362200"/>
              <a:gd name="connsiteX119" fmla="*/ 76200 w 3467100"/>
              <a:gd name="connsiteY119" fmla="*/ 1379220 h 2362200"/>
              <a:gd name="connsiteX120" fmla="*/ 64770 w 3467100"/>
              <a:gd name="connsiteY120" fmla="*/ 1383030 h 2362200"/>
              <a:gd name="connsiteX121" fmla="*/ 53340 w 3467100"/>
              <a:gd name="connsiteY121" fmla="*/ 1390650 h 2362200"/>
              <a:gd name="connsiteX122" fmla="*/ 0 w 3467100"/>
              <a:gd name="connsiteY122" fmla="*/ 1398270 h 2362200"/>
              <a:gd name="connsiteX123" fmla="*/ 0 w 3467100"/>
              <a:gd name="connsiteY123" fmla="*/ 1215390 h 2362200"/>
              <a:gd name="connsiteX124" fmla="*/ 38100 w 3467100"/>
              <a:gd name="connsiteY124" fmla="*/ 933450 h 2362200"/>
              <a:gd name="connsiteX125" fmla="*/ 72390 w 3467100"/>
              <a:gd name="connsiteY125" fmla="*/ 601980 h 2362200"/>
              <a:gd name="connsiteX126" fmla="*/ 91440 w 3467100"/>
              <a:gd name="connsiteY126" fmla="*/ 537210 h 2362200"/>
              <a:gd name="connsiteX0" fmla="*/ 91440 w 3467100"/>
              <a:gd name="connsiteY0" fmla="*/ 537210 h 2362200"/>
              <a:gd name="connsiteX1" fmla="*/ 91440 w 3467100"/>
              <a:gd name="connsiteY1" fmla="*/ 537210 h 2362200"/>
              <a:gd name="connsiteX2" fmla="*/ 102870 w 3467100"/>
              <a:gd name="connsiteY2" fmla="*/ 502920 h 2362200"/>
              <a:gd name="connsiteX3" fmla="*/ 106680 w 3467100"/>
              <a:gd name="connsiteY3" fmla="*/ 487680 h 2362200"/>
              <a:gd name="connsiteX4" fmla="*/ 118110 w 3467100"/>
              <a:gd name="connsiteY4" fmla="*/ 468630 h 2362200"/>
              <a:gd name="connsiteX5" fmla="*/ 125730 w 3467100"/>
              <a:gd name="connsiteY5" fmla="*/ 457200 h 2362200"/>
              <a:gd name="connsiteX6" fmla="*/ 137160 w 3467100"/>
              <a:gd name="connsiteY6" fmla="*/ 449580 h 2362200"/>
              <a:gd name="connsiteX7" fmla="*/ 144780 w 3467100"/>
              <a:gd name="connsiteY7" fmla="*/ 438150 h 2362200"/>
              <a:gd name="connsiteX8" fmla="*/ 179070 w 3467100"/>
              <a:gd name="connsiteY8" fmla="*/ 419100 h 2362200"/>
              <a:gd name="connsiteX9" fmla="*/ 194310 w 3467100"/>
              <a:gd name="connsiteY9" fmla="*/ 415290 h 2362200"/>
              <a:gd name="connsiteX10" fmla="*/ 209550 w 3467100"/>
              <a:gd name="connsiteY10" fmla="*/ 407670 h 2362200"/>
              <a:gd name="connsiteX11" fmla="*/ 220980 w 3467100"/>
              <a:gd name="connsiteY11" fmla="*/ 403860 h 2362200"/>
              <a:gd name="connsiteX12" fmla="*/ 232410 w 3467100"/>
              <a:gd name="connsiteY12" fmla="*/ 396240 h 2362200"/>
              <a:gd name="connsiteX13" fmla="*/ 293370 w 3467100"/>
              <a:gd name="connsiteY13" fmla="*/ 388620 h 2362200"/>
              <a:gd name="connsiteX14" fmla="*/ 438150 w 3467100"/>
              <a:gd name="connsiteY14" fmla="*/ 388620 h 2362200"/>
              <a:gd name="connsiteX15" fmla="*/ 472440 w 3467100"/>
              <a:gd name="connsiteY15" fmla="*/ 396240 h 2362200"/>
              <a:gd name="connsiteX16" fmla="*/ 514350 w 3467100"/>
              <a:gd name="connsiteY16" fmla="*/ 400050 h 2362200"/>
              <a:gd name="connsiteX17" fmla="*/ 548640 w 3467100"/>
              <a:gd name="connsiteY17" fmla="*/ 403860 h 2362200"/>
              <a:gd name="connsiteX18" fmla="*/ 666750 w 3467100"/>
              <a:gd name="connsiteY18" fmla="*/ 400050 h 2362200"/>
              <a:gd name="connsiteX19" fmla="*/ 1497330 w 3467100"/>
              <a:gd name="connsiteY19" fmla="*/ 403860 h 2362200"/>
              <a:gd name="connsiteX20" fmla="*/ 2164080 w 3467100"/>
              <a:gd name="connsiteY20" fmla="*/ 327660 h 2362200"/>
              <a:gd name="connsiteX21" fmla="*/ 2617470 w 3467100"/>
              <a:gd name="connsiteY21" fmla="*/ 274320 h 2362200"/>
              <a:gd name="connsiteX22" fmla="*/ 2613660 w 3467100"/>
              <a:gd name="connsiteY22" fmla="*/ 224790 h 2362200"/>
              <a:gd name="connsiteX23" fmla="*/ 2526030 w 3467100"/>
              <a:gd name="connsiteY23" fmla="*/ 95250 h 2362200"/>
              <a:gd name="connsiteX24" fmla="*/ 2529840 w 3467100"/>
              <a:gd name="connsiteY24" fmla="*/ 53340 h 2362200"/>
              <a:gd name="connsiteX25" fmla="*/ 2617470 w 3467100"/>
              <a:gd name="connsiteY25" fmla="*/ 68580 h 2362200"/>
              <a:gd name="connsiteX26" fmla="*/ 2621280 w 3467100"/>
              <a:gd name="connsiteY26" fmla="*/ 76200 h 2362200"/>
              <a:gd name="connsiteX27" fmla="*/ 2739390 w 3467100"/>
              <a:gd name="connsiteY27" fmla="*/ 163830 h 2362200"/>
              <a:gd name="connsiteX28" fmla="*/ 2979420 w 3467100"/>
              <a:gd name="connsiteY28" fmla="*/ 140970 h 2362200"/>
              <a:gd name="connsiteX29" fmla="*/ 3181350 w 3467100"/>
              <a:gd name="connsiteY29" fmla="*/ 0 h 2362200"/>
              <a:gd name="connsiteX30" fmla="*/ 3219450 w 3467100"/>
              <a:gd name="connsiteY30" fmla="*/ 0 h 2362200"/>
              <a:gd name="connsiteX31" fmla="*/ 3249930 w 3467100"/>
              <a:gd name="connsiteY31" fmla="*/ 11430 h 2362200"/>
              <a:gd name="connsiteX32" fmla="*/ 3253740 w 3467100"/>
              <a:gd name="connsiteY32" fmla="*/ 26670 h 2362200"/>
              <a:gd name="connsiteX33" fmla="*/ 3261360 w 3467100"/>
              <a:gd name="connsiteY33" fmla="*/ 49530 h 2362200"/>
              <a:gd name="connsiteX34" fmla="*/ 3242310 w 3467100"/>
              <a:gd name="connsiteY34" fmla="*/ 95250 h 2362200"/>
              <a:gd name="connsiteX35" fmla="*/ 3227070 w 3467100"/>
              <a:gd name="connsiteY35" fmla="*/ 99060 h 2362200"/>
              <a:gd name="connsiteX36" fmla="*/ 3215640 w 3467100"/>
              <a:gd name="connsiteY36" fmla="*/ 102870 h 2362200"/>
              <a:gd name="connsiteX37" fmla="*/ 3070860 w 3467100"/>
              <a:gd name="connsiteY37" fmla="*/ 190500 h 2362200"/>
              <a:gd name="connsiteX38" fmla="*/ 3352800 w 3467100"/>
              <a:gd name="connsiteY38" fmla="*/ 480060 h 2362200"/>
              <a:gd name="connsiteX39" fmla="*/ 3467100 w 3467100"/>
              <a:gd name="connsiteY39" fmla="*/ 598170 h 2362200"/>
              <a:gd name="connsiteX40" fmla="*/ 3436620 w 3467100"/>
              <a:gd name="connsiteY40" fmla="*/ 742950 h 2362200"/>
              <a:gd name="connsiteX41" fmla="*/ 3360420 w 3467100"/>
              <a:gd name="connsiteY41" fmla="*/ 777240 h 2362200"/>
              <a:gd name="connsiteX42" fmla="*/ 3158490 w 3467100"/>
              <a:gd name="connsiteY42" fmla="*/ 784860 h 2362200"/>
              <a:gd name="connsiteX43" fmla="*/ 2929890 w 3467100"/>
              <a:gd name="connsiteY43" fmla="*/ 872490 h 2362200"/>
              <a:gd name="connsiteX44" fmla="*/ 2800350 w 3467100"/>
              <a:gd name="connsiteY44" fmla="*/ 941070 h 2362200"/>
              <a:gd name="connsiteX45" fmla="*/ 2632710 w 3467100"/>
              <a:gd name="connsiteY45" fmla="*/ 1238250 h 2362200"/>
              <a:gd name="connsiteX46" fmla="*/ 2529840 w 3467100"/>
              <a:gd name="connsiteY46" fmla="*/ 1447800 h 2362200"/>
              <a:gd name="connsiteX47" fmla="*/ 2491740 w 3467100"/>
              <a:gd name="connsiteY47" fmla="*/ 1489710 h 2362200"/>
              <a:gd name="connsiteX48" fmla="*/ 2461260 w 3467100"/>
              <a:gd name="connsiteY48" fmla="*/ 1504950 h 2362200"/>
              <a:gd name="connsiteX49" fmla="*/ 2442210 w 3467100"/>
              <a:gd name="connsiteY49" fmla="*/ 1508760 h 2362200"/>
              <a:gd name="connsiteX50" fmla="*/ 2419350 w 3467100"/>
              <a:gd name="connsiteY50" fmla="*/ 1516380 h 2362200"/>
              <a:gd name="connsiteX51" fmla="*/ 2404110 w 3467100"/>
              <a:gd name="connsiteY51" fmla="*/ 1520190 h 2362200"/>
              <a:gd name="connsiteX52" fmla="*/ 2381250 w 3467100"/>
              <a:gd name="connsiteY52" fmla="*/ 1535430 h 2362200"/>
              <a:gd name="connsiteX53" fmla="*/ 2350770 w 3467100"/>
              <a:gd name="connsiteY53" fmla="*/ 1554480 h 2362200"/>
              <a:gd name="connsiteX54" fmla="*/ 2339340 w 3467100"/>
              <a:gd name="connsiteY54" fmla="*/ 1577340 h 2362200"/>
              <a:gd name="connsiteX55" fmla="*/ 2339340 w 3467100"/>
              <a:gd name="connsiteY55" fmla="*/ 1581150 h 2362200"/>
              <a:gd name="connsiteX56" fmla="*/ 2305050 w 3467100"/>
              <a:gd name="connsiteY56" fmla="*/ 1824990 h 2362200"/>
              <a:gd name="connsiteX57" fmla="*/ 2297430 w 3467100"/>
              <a:gd name="connsiteY57" fmla="*/ 1985010 h 2362200"/>
              <a:gd name="connsiteX58" fmla="*/ 2449830 w 3467100"/>
              <a:gd name="connsiteY58" fmla="*/ 2270760 h 2362200"/>
              <a:gd name="connsiteX59" fmla="*/ 2506980 w 3467100"/>
              <a:gd name="connsiteY59" fmla="*/ 2316480 h 2362200"/>
              <a:gd name="connsiteX60" fmla="*/ 2484120 w 3467100"/>
              <a:gd name="connsiteY60" fmla="*/ 2354580 h 2362200"/>
              <a:gd name="connsiteX61" fmla="*/ 2297430 w 3467100"/>
              <a:gd name="connsiteY61" fmla="*/ 2362200 h 2362200"/>
              <a:gd name="connsiteX62" fmla="*/ 2129790 w 3467100"/>
              <a:gd name="connsiteY62" fmla="*/ 1855470 h 2362200"/>
              <a:gd name="connsiteX63" fmla="*/ 2065020 w 3467100"/>
              <a:gd name="connsiteY63" fmla="*/ 1805940 h 2362200"/>
              <a:gd name="connsiteX64" fmla="*/ 2080260 w 3467100"/>
              <a:gd name="connsiteY64" fmla="*/ 2129790 h 2362200"/>
              <a:gd name="connsiteX65" fmla="*/ 2190750 w 3467100"/>
              <a:gd name="connsiteY65" fmla="*/ 2289810 h 2362200"/>
              <a:gd name="connsiteX66" fmla="*/ 2171700 w 3467100"/>
              <a:gd name="connsiteY66" fmla="*/ 2301240 h 2362200"/>
              <a:gd name="connsiteX67" fmla="*/ 1962150 w 3467100"/>
              <a:gd name="connsiteY67" fmla="*/ 2320290 h 2362200"/>
              <a:gd name="connsiteX68" fmla="*/ 1924050 w 3467100"/>
              <a:gd name="connsiteY68" fmla="*/ 2198370 h 2362200"/>
              <a:gd name="connsiteX69" fmla="*/ 1836420 w 3467100"/>
              <a:gd name="connsiteY69" fmla="*/ 1642110 h 2362200"/>
              <a:gd name="connsiteX70" fmla="*/ 1741170 w 3467100"/>
              <a:gd name="connsiteY70" fmla="*/ 1539240 h 2362200"/>
              <a:gd name="connsiteX71" fmla="*/ 1367790 w 3467100"/>
              <a:gd name="connsiteY71" fmla="*/ 1562100 h 2362200"/>
              <a:gd name="connsiteX72" fmla="*/ 1162050 w 3467100"/>
              <a:gd name="connsiteY72" fmla="*/ 1584960 h 2362200"/>
              <a:gd name="connsiteX73" fmla="*/ 1089660 w 3467100"/>
              <a:gd name="connsiteY73" fmla="*/ 1680210 h 2362200"/>
              <a:gd name="connsiteX74" fmla="*/ 1036320 w 3467100"/>
              <a:gd name="connsiteY74" fmla="*/ 1695450 h 2362200"/>
              <a:gd name="connsiteX75" fmla="*/ 994410 w 3467100"/>
              <a:gd name="connsiteY75" fmla="*/ 1695450 h 2362200"/>
              <a:gd name="connsiteX76" fmla="*/ 975360 w 3467100"/>
              <a:gd name="connsiteY76" fmla="*/ 1813560 h 2362200"/>
              <a:gd name="connsiteX77" fmla="*/ 941070 w 3467100"/>
              <a:gd name="connsiteY77" fmla="*/ 1809750 h 2362200"/>
              <a:gd name="connsiteX78" fmla="*/ 929640 w 3467100"/>
              <a:gd name="connsiteY78" fmla="*/ 1805940 h 2362200"/>
              <a:gd name="connsiteX79" fmla="*/ 925830 w 3467100"/>
              <a:gd name="connsiteY79" fmla="*/ 1790700 h 2362200"/>
              <a:gd name="connsiteX80" fmla="*/ 906780 w 3467100"/>
              <a:gd name="connsiteY80" fmla="*/ 1703070 h 2362200"/>
              <a:gd name="connsiteX81" fmla="*/ 876300 w 3467100"/>
              <a:gd name="connsiteY81" fmla="*/ 1703070 h 2362200"/>
              <a:gd name="connsiteX82" fmla="*/ 857250 w 3467100"/>
              <a:gd name="connsiteY82" fmla="*/ 1802130 h 2362200"/>
              <a:gd name="connsiteX83" fmla="*/ 849630 w 3467100"/>
              <a:gd name="connsiteY83" fmla="*/ 1836420 h 2362200"/>
              <a:gd name="connsiteX84" fmla="*/ 826770 w 3467100"/>
              <a:gd name="connsiteY84" fmla="*/ 1851660 h 2362200"/>
              <a:gd name="connsiteX85" fmla="*/ 811530 w 3467100"/>
              <a:gd name="connsiteY85" fmla="*/ 1847850 h 2362200"/>
              <a:gd name="connsiteX86" fmla="*/ 807720 w 3467100"/>
              <a:gd name="connsiteY86" fmla="*/ 1836420 h 2362200"/>
              <a:gd name="connsiteX87" fmla="*/ 800100 w 3467100"/>
              <a:gd name="connsiteY87" fmla="*/ 1828800 h 2362200"/>
              <a:gd name="connsiteX88" fmla="*/ 773430 w 3467100"/>
              <a:gd name="connsiteY88" fmla="*/ 1710690 h 2362200"/>
              <a:gd name="connsiteX89" fmla="*/ 693420 w 3467100"/>
              <a:gd name="connsiteY89" fmla="*/ 1718310 h 2362200"/>
              <a:gd name="connsiteX90" fmla="*/ 659130 w 3467100"/>
              <a:gd name="connsiteY90" fmla="*/ 1798320 h 2362200"/>
              <a:gd name="connsiteX91" fmla="*/ 678180 w 3467100"/>
              <a:gd name="connsiteY91" fmla="*/ 1840230 h 2362200"/>
              <a:gd name="connsiteX92" fmla="*/ 689610 w 3467100"/>
              <a:gd name="connsiteY92" fmla="*/ 1859280 h 2362200"/>
              <a:gd name="connsiteX93" fmla="*/ 697230 w 3467100"/>
              <a:gd name="connsiteY93" fmla="*/ 1927860 h 2362200"/>
              <a:gd name="connsiteX94" fmla="*/ 701040 w 3467100"/>
              <a:gd name="connsiteY94" fmla="*/ 1939290 h 2362200"/>
              <a:gd name="connsiteX95" fmla="*/ 777240 w 3467100"/>
              <a:gd name="connsiteY95" fmla="*/ 2171700 h 2362200"/>
              <a:gd name="connsiteX96" fmla="*/ 963930 w 3467100"/>
              <a:gd name="connsiteY96" fmla="*/ 2270760 h 2362200"/>
              <a:gd name="connsiteX97" fmla="*/ 944880 w 3467100"/>
              <a:gd name="connsiteY97" fmla="*/ 2320290 h 2362200"/>
              <a:gd name="connsiteX98" fmla="*/ 720090 w 3467100"/>
              <a:gd name="connsiteY98" fmla="*/ 2324100 h 2362200"/>
              <a:gd name="connsiteX99" fmla="*/ 613410 w 3467100"/>
              <a:gd name="connsiteY99" fmla="*/ 2202180 h 2362200"/>
              <a:gd name="connsiteX100" fmla="*/ 434340 w 3467100"/>
              <a:gd name="connsiteY100" fmla="*/ 1687830 h 2362200"/>
              <a:gd name="connsiteX101" fmla="*/ 392430 w 3467100"/>
              <a:gd name="connsiteY101" fmla="*/ 1691640 h 2362200"/>
              <a:gd name="connsiteX102" fmla="*/ 316230 w 3467100"/>
              <a:gd name="connsiteY102" fmla="*/ 2042160 h 2362200"/>
              <a:gd name="connsiteX103" fmla="*/ 388620 w 3467100"/>
              <a:gd name="connsiteY103" fmla="*/ 2266950 h 2362200"/>
              <a:gd name="connsiteX104" fmla="*/ 426720 w 3467100"/>
              <a:gd name="connsiteY104" fmla="*/ 2274570 h 2362200"/>
              <a:gd name="connsiteX105" fmla="*/ 445770 w 3467100"/>
              <a:gd name="connsiteY105" fmla="*/ 2293620 h 2362200"/>
              <a:gd name="connsiteX106" fmla="*/ 453390 w 3467100"/>
              <a:gd name="connsiteY106" fmla="*/ 2301240 h 2362200"/>
              <a:gd name="connsiteX107" fmla="*/ 464820 w 3467100"/>
              <a:gd name="connsiteY107" fmla="*/ 2335530 h 2362200"/>
              <a:gd name="connsiteX108" fmla="*/ 209550 w 3467100"/>
              <a:gd name="connsiteY108" fmla="*/ 2358390 h 2362200"/>
              <a:gd name="connsiteX109" fmla="*/ 144780 w 3467100"/>
              <a:gd name="connsiteY109" fmla="*/ 1767840 h 2362200"/>
              <a:gd name="connsiteX110" fmla="*/ 125730 w 3467100"/>
              <a:gd name="connsiteY110" fmla="*/ 1592580 h 2362200"/>
              <a:gd name="connsiteX111" fmla="*/ 182880 w 3467100"/>
              <a:gd name="connsiteY111" fmla="*/ 1310640 h 2362200"/>
              <a:gd name="connsiteX112" fmla="*/ 118110 w 3467100"/>
              <a:gd name="connsiteY112" fmla="*/ 933450 h 2362200"/>
              <a:gd name="connsiteX113" fmla="*/ 102870 w 3467100"/>
              <a:gd name="connsiteY113" fmla="*/ 929640 h 2362200"/>
              <a:gd name="connsiteX114" fmla="*/ 102870 w 3467100"/>
              <a:gd name="connsiteY114" fmla="*/ 1002030 h 2362200"/>
              <a:gd name="connsiteX115" fmla="*/ 110490 w 3467100"/>
              <a:gd name="connsiteY115" fmla="*/ 1181100 h 2362200"/>
              <a:gd name="connsiteX116" fmla="*/ 95250 w 3467100"/>
              <a:gd name="connsiteY116" fmla="*/ 1322070 h 2362200"/>
              <a:gd name="connsiteX117" fmla="*/ 83820 w 3467100"/>
              <a:gd name="connsiteY117" fmla="*/ 1360170 h 2362200"/>
              <a:gd name="connsiteX118" fmla="*/ 76200 w 3467100"/>
              <a:gd name="connsiteY118" fmla="*/ 1379220 h 2362200"/>
              <a:gd name="connsiteX119" fmla="*/ 64770 w 3467100"/>
              <a:gd name="connsiteY119" fmla="*/ 1383030 h 2362200"/>
              <a:gd name="connsiteX120" fmla="*/ 53340 w 3467100"/>
              <a:gd name="connsiteY120" fmla="*/ 1390650 h 2362200"/>
              <a:gd name="connsiteX121" fmla="*/ 0 w 3467100"/>
              <a:gd name="connsiteY121" fmla="*/ 1398270 h 2362200"/>
              <a:gd name="connsiteX122" fmla="*/ 0 w 3467100"/>
              <a:gd name="connsiteY122" fmla="*/ 1215390 h 2362200"/>
              <a:gd name="connsiteX123" fmla="*/ 38100 w 3467100"/>
              <a:gd name="connsiteY123" fmla="*/ 933450 h 2362200"/>
              <a:gd name="connsiteX124" fmla="*/ 72390 w 3467100"/>
              <a:gd name="connsiteY124" fmla="*/ 601980 h 2362200"/>
              <a:gd name="connsiteX125" fmla="*/ 91440 w 3467100"/>
              <a:gd name="connsiteY125" fmla="*/ 537210 h 2362200"/>
              <a:gd name="connsiteX0" fmla="*/ 91440 w 3467100"/>
              <a:gd name="connsiteY0" fmla="*/ 537210 h 2362200"/>
              <a:gd name="connsiteX1" fmla="*/ 91440 w 3467100"/>
              <a:gd name="connsiteY1" fmla="*/ 537210 h 2362200"/>
              <a:gd name="connsiteX2" fmla="*/ 102870 w 3467100"/>
              <a:gd name="connsiteY2" fmla="*/ 502920 h 2362200"/>
              <a:gd name="connsiteX3" fmla="*/ 106680 w 3467100"/>
              <a:gd name="connsiteY3" fmla="*/ 487680 h 2362200"/>
              <a:gd name="connsiteX4" fmla="*/ 118110 w 3467100"/>
              <a:gd name="connsiteY4" fmla="*/ 468630 h 2362200"/>
              <a:gd name="connsiteX5" fmla="*/ 125730 w 3467100"/>
              <a:gd name="connsiteY5" fmla="*/ 457200 h 2362200"/>
              <a:gd name="connsiteX6" fmla="*/ 137160 w 3467100"/>
              <a:gd name="connsiteY6" fmla="*/ 449580 h 2362200"/>
              <a:gd name="connsiteX7" fmla="*/ 144780 w 3467100"/>
              <a:gd name="connsiteY7" fmla="*/ 438150 h 2362200"/>
              <a:gd name="connsiteX8" fmla="*/ 179070 w 3467100"/>
              <a:gd name="connsiteY8" fmla="*/ 419100 h 2362200"/>
              <a:gd name="connsiteX9" fmla="*/ 194310 w 3467100"/>
              <a:gd name="connsiteY9" fmla="*/ 415290 h 2362200"/>
              <a:gd name="connsiteX10" fmla="*/ 209550 w 3467100"/>
              <a:gd name="connsiteY10" fmla="*/ 407670 h 2362200"/>
              <a:gd name="connsiteX11" fmla="*/ 220980 w 3467100"/>
              <a:gd name="connsiteY11" fmla="*/ 403860 h 2362200"/>
              <a:gd name="connsiteX12" fmla="*/ 232410 w 3467100"/>
              <a:gd name="connsiteY12" fmla="*/ 396240 h 2362200"/>
              <a:gd name="connsiteX13" fmla="*/ 293370 w 3467100"/>
              <a:gd name="connsiteY13" fmla="*/ 388620 h 2362200"/>
              <a:gd name="connsiteX14" fmla="*/ 438150 w 3467100"/>
              <a:gd name="connsiteY14" fmla="*/ 388620 h 2362200"/>
              <a:gd name="connsiteX15" fmla="*/ 472440 w 3467100"/>
              <a:gd name="connsiteY15" fmla="*/ 396240 h 2362200"/>
              <a:gd name="connsiteX16" fmla="*/ 514350 w 3467100"/>
              <a:gd name="connsiteY16" fmla="*/ 400050 h 2362200"/>
              <a:gd name="connsiteX17" fmla="*/ 548640 w 3467100"/>
              <a:gd name="connsiteY17" fmla="*/ 403860 h 2362200"/>
              <a:gd name="connsiteX18" fmla="*/ 666750 w 3467100"/>
              <a:gd name="connsiteY18" fmla="*/ 400050 h 2362200"/>
              <a:gd name="connsiteX19" fmla="*/ 1497330 w 3467100"/>
              <a:gd name="connsiteY19" fmla="*/ 403860 h 2362200"/>
              <a:gd name="connsiteX20" fmla="*/ 2164080 w 3467100"/>
              <a:gd name="connsiteY20" fmla="*/ 327660 h 2362200"/>
              <a:gd name="connsiteX21" fmla="*/ 2617470 w 3467100"/>
              <a:gd name="connsiteY21" fmla="*/ 274320 h 2362200"/>
              <a:gd name="connsiteX22" fmla="*/ 2613660 w 3467100"/>
              <a:gd name="connsiteY22" fmla="*/ 224790 h 2362200"/>
              <a:gd name="connsiteX23" fmla="*/ 2526030 w 3467100"/>
              <a:gd name="connsiteY23" fmla="*/ 95250 h 2362200"/>
              <a:gd name="connsiteX24" fmla="*/ 2529840 w 3467100"/>
              <a:gd name="connsiteY24" fmla="*/ 53340 h 2362200"/>
              <a:gd name="connsiteX25" fmla="*/ 2617470 w 3467100"/>
              <a:gd name="connsiteY25" fmla="*/ 68580 h 2362200"/>
              <a:gd name="connsiteX26" fmla="*/ 2621280 w 3467100"/>
              <a:gd name="connsiteY26" fmla="*/ 76200 h 2362200"/>
              <a:gd name="connsiteX27" fmla="*/ 2739390 w 3467100"/>
              <a:gd name="connsiteY27" fmla="*/ 163830 h 2362200"/>
              <a:gd name="connsiteX28" fmla="*/ 2979420 w 3467100"/>
              <a:gd name="connsiteY28" fmla="*/ 140970 h 2362200"/>
              <a:gd name="connsiteX29" fmla="*/ 3181350 w 3467100"/>
              <a:gd name="connsiteY29" fmla="*/ 0 h 2362200"/>
              <a:gd name="connsiteX30" fmla="*/ 3219450 w 3467100"/>
              <a:gd name="connsiteY30" fmla="*/ 0 h 2362200"/>
              <a:gd name="connsiteX31" fmla="*/ 3249930 w 3467100"/>
              <a:gd name="connsiteY31" fmla="*/ 11430 h 2362200"/>
              <a:gd name="connsiteX32" fmla="*/ 3253740 w 3467100"/>
              <a:gd name="connsiteY32" fmla="*/ 26670 h 2362200"/>
              <a:gd name="connsiteX33" fmla="*/ 3261360 w 3467100"/>
              <a:gd name="connsiteY33" fmla="*/ 49530 h 2362200"/>
              <a:gd name="connsiteX34" fmla="*/ 3242310 w 3467100"/>
              <a:gd name="connsiteY34" fmla="*/ 95250 h 2362200"/>
              <a:gd name="connsiteX35" fmla="*/ 3227070 w 3467100"/>
              <a:gd name="connsiteY35" fmla="*/ 99060 h 2362200"/>
              <a:gd name="connsiteX36" fmla="*/ 3215640 w 3467100"/>
              <a:gd name="connsiteY36" fmla="*/ 102870 h 2362200"/>
              <a:gd name="connsiteX37" fmla="*/ 3070860 w 3467100"/>
              <a:gd name="connsiteY37" fmla="*/ 190500 h 2362200"/>
              <a:gd name="connsiteX38" fmla="*/ 3352800 w 3467100"/>
              <a:gd name="connsiteY38" fmla="*/ 480060 h 2362200"/>
              <a:gd name="connsiteX39" fmla="*/ 3467100 w 3467100"/>
              <a:gd name="connsiteY39" fmla="*/ 598170 h 2362200"/>
              <a:gd name="connsiteX40" fmla="*/ 3436620 w 3467100"/>
              <a:gd name="connsiteY40" fmla="*/ 742950 h 2362200"/>
              <a:gd name="connsiteX41" fmla="*/ 3360420 w 3467100"/>
              <a:gd name="connsiteY41" fmla="*/ 777240 h 2362200"/>
              <a:gd name="connsiteX42" fmla="*/ 3158490 w 3467100"/>
              <a:gd name="connsiteY42" fmla="*/ 784860 h 2362200"/>
              <a:gd name="connsiteX43" fmla="*/ 2929890 w 3467100"/>
              <a:gd name="connsiteY43" fmla="*/ 872490 h 2362200"/>
              <a:gd name="connsiteX44" fmla="*/ 2800350 w 3467100"/>
              <a:gd name="connsiteY44" fmla="*/ 941070 h 2362200"/>
              <a:gd name="connsiteX45" fmla="*/ 2632710 w 3467100"/>
              <a:gd name="connsiteY45" fmla="*/ 1238250 h 2362200"/>
              <a:gd name="connsiteX46" fmla="*/ 2529840 w 3467100"/>
              <a:gd name="connsiteY46" fmla="*/ 1447800 h 2362200"/>
              <a:gd name="connsiteX47" fmla="*/ 2491740 w 3467100"/>
              <a:gd name="connsiteY47" fmla="*/ 1489710 h 2362200"/>
              <a:gd name="connsiteX48" fmla="*/ 2461260 w 3467100"/>
              <a:gd name="connsiteY48" fmla="*/ 1504950 h 2362200"/>
              <a:gd name="connsiteX49" fmla="*/ 2442210 w 3467100"/>
              <a:gd name="connsiteY49" fmla="*/ 1508760 h 2362200"/>
              <a:gd name="connsiteX50" fmla="*/ 2419350 w 3467100"/>
              <a:gd name="connsiteY50" fmla="*/ 1516380 h 2362200"/>
              <a:gd name="connsiteX51" fmla="*/ 2404110 w 3467100"/>
              <a:gd name="connsiteY51" fmla="*/ 1520190 h 2362200"/>
              <a:gd name="connsiteX52" fmla="*/ 2381250 w 3467100"/>
              <a:gd name="connsiteY52" fmla="*/ 1535430 h 2362200"/>
              <a:gd name="connsiteX53" fmla="*/ 2350770 w 3467100"/>
              <a:gd name="connsiteY53" fmla="*/ 1554480 h 2362200"/>
              <a:gd name="connsiteX54" fmla="*/ 2339340 w 3467100"/>
              <a:gd name="connsiteY54" fmla="*/ 1577340 h 2362200"/>
              <a:gd name="connsiteX55" fmla="*/ 2339340 w 3467100"/>
              <a:gd name="connsiteY55" fmla="*/ 1581150 h 2362200"/>
              <a:gd name="connsiteX56" fmla="*/ 2305050 w 3467100"/>
              <a:gd name="connsiteY56" fmla="*/ 1824990 h 2362200"/>
              <a:gd name="connsiteX57" fmla="*/ 2297430 w 3467100"/>
              <a:gd name="connsiteY57" fmla="*/ 1985010 h 2362200"/>
              <a:gd name="connsiteX58" fmla="*/ 2449830 w 3467100"/>
              <a:gd name="connsiteY58" fmla="*/ 2270760 h 2362200"/>
              <a:gd name="connsiteX59" fmla="*/ 2506980 w 3467100"/>
              <a:gd name="connsiteY59" fmla="*/ 2316480 h 2362200"/>
              <a:gd name="connsiteX60" fmla="*/ 2484120 w 3467100"/>
              <a:gd name="connsiteY60" fmla="*/ 2354580 h 2362200"/>
              <a:gd name="connsiteX61" fmla="*/ 2297430 w 3467100"/>
              <a:gd name="connsiteY61" fmla="*/ 2362200 h 2362200"/>
              <a:gd name="connsiteX62" fmla="*/ 2129790 w 3467100"/>
              <a:gd name="connsiteY62" fmla="*/ 1855470 h 2362200"/>
              <a:gd name="connsiteX63" fmla="*/ 2065020 w 3467100"/>
              <a:gd name="connsiteY63" fmla="*/ 1805940 h 2362200"/>
              <a:gd name="connsiteX64" fmla="*/ 2080260 w 3467100"/>
              <a:gd name="connsiteY64" fmla="*/ 2129790 h 2362200"/>
              <a:gd name="connsiteX65" fmla="*/ 2190750 w 3467100"/>
              <a:gd name="connsiteY65" fmla="*/ 2289810 h 2362200"/>
              <a:gd name="connsiteX66" fmla="*/ 2171700 w 3467100"/>
              <a:gd name="connsiteY66" fmla="*/ 2301240 h 2362200"/>
              <a:gd name="connsiteX67" fmla="*/ 1962150 w 3467100"/>
              <a:gd name="connsiteY67" fmla="*/ 2320290 h 2362200"/>
              <a:gd name="connsiteX68" fmla="*/ 1924050 w 3467100"/>
              <a:gd name="connsiteY68" fmla="*/ 2198370 h 2362200"/>
              <a:gd name="connsiteX69" fmla="*/ 1836420 w 3467100"/>
              <a:gd name="connsiteY69" fmla="*/ 1642110 h 2362200"/>
              <a:gd name="connsiteX70" fmla="*/ 1741170 w 3467100"/>
              <a:gd name="connsiteY70" fmla="*/ 1539240 h 2362200"/>
              <a:gd name="connsiteX71" fmla="*/ 1367790 w 3467100"/>
              <a:gd name="connsiteY71" fmla="*/ 1562100 h 2362200"/>
              <a:gd name="connsiteX72" fmla="*/ 1162050 w 3467100"/>
              <a:gd name="connsiteY72" fmla="*/ 1584960 h 2362200"/>
              <a:gd name="connsiteX73" fmla="*/ 1089660 w 3467100"/>
              <a:gd name="connsiteY73" fmla="*/ 1680210 h 2362200"/>
              <a:gd name="connsiteX74" fmla="*/ 1036320 w 3467100"/>
              <a:gd name="connsiteY74" fmla="*/ 1695450 h 2362200"/>
              <a:gd name="connsiteX75" fmla="*/ 994410 w 3467100"/>
              <a:gd name="connsiteY75" fmla="*/ 1695450 h 2362200"/>
              <a:gd name="connsiteX76" fmla="*/ 975360 w 3467100"/>
              <a:gd name="connsiteY76" fmla="*/ 1813560 h 2362200"/>
              <a:gd name="connsiteX77" fmla="*/ 941070 w 3467100"/>
              <a:gd name="connsiteY77" fmla="*/ 1809750 h 2362200"/>
              <a:gd name="connsiteX78" fmla="*/ 929640 w 3467100"/>
              <a:gd name="connsiteY78" fmla="*/ 1805940 h 2362200"/>
              <a:gd name="connsiteX79" fmla="*/ 925830 w 3467100"/>
              <a:gd name="connsiteY79" fmla="*/ 1790700 h 2362200"/>
              <a:gd name="connsiteX80" fmla="*/ 906780 w 3467100"/>
              <a:gd name="connsiteY80" fmla="*/ 1703070 h 2362200"/>
              <a:gd name="connsiteX81" fmla="*/ 876300 w 3467100"/>
              <a:gd name="connsiteY81" fmla="*/ 1703070 h 2362200"/>
              <a:gd name="connsiteX82" fmla="*/ 857250 w 3467100"/>
              <a:gd name="connsiteY82" fmla="*/ 1802130 h 2362200"/>
              <a:gd name="connsiteX83" fmla="*/ 849630 w 3467100"/>
              <a:gd name="connsiteY83" fmla="*/ 1836420 h 2362200"/>
              <a:gd name="connsiteX84" fmla="*/ 826770 w 3467100"/>
              <a:gd name="connsiteY84" fmla="*/ 1851660 h 2362200"/>
              <a:gd name="connsiteX85" fmla="*/ 811530 w 3467100"/>
              <a:gd name="connsiteY85" fmla="*/ 1847850 h 2362200"/>
              <a:gd name="connsiteX86" fmla="*/ 807720 w 3467100"/>
              <a:gd name="connsiteY86" fmla="*/ 1836420 h 2362200"/>
              <a:gd name="connsiteX87" fmla="*/ 800100 w 3467100"/>
              <a:gd name="connsiteY87" fmla="*/ 1828800 h 2362200"/>
              <a:gd name="connsiteX88" fmla="*/ 773430 w 3467100"/>
              <a:gd name="connsiteY88" fmla="*/ 1710690 h 2362200"/>
              <a:gd name="connsiteX89" fmla="*/ 693420 w 3467100"/>
              <a:gd name="connsiteY89" fmla="*/ 1718310 h 2362200"/>
              <a:gd name="connsiteX90" fmla="*/ 659130 w 3467100"/>
              <a:gd name="connsiteY90" fmla="*/ 1798320 h 2362200"/>
              <a:gd name="connsiteX91" fmla="*/ 678180 w 3467100"/>
              <a:gd name="connsiteY91" fmla="*/ 1840230 h 2362200"/>
              <a:gd name="connsiteX92" fmla="*/ 697230 w 3467100"/>
              <a:gd name="connsiteY92" fmla="*/ 1927860 h 2362200"/>
              <a:gd name="connsiteX93" fmla="*/ 701040 w 3467100"/>
              <a:gd name="connsiteY93" fmla="*/ 1939290 h 2362200"/>
              <a:gd name="connsiteX94" fmla="*/ 777240 w 3467100"/>
              <a:gd name="connsiteY94" fmla="*/ 2171700 h 2362200"/>
              <a:gd name="connsiteX95" fmla="*/ 963930 w 3467100"/>
              <a:gd name="connsiteY95" fmla="*/ 2270760 h 2362200"/>
              <a:gd name="connsiteX96" fmla="*/ 944880 w 3467100"/>
              <a:gd name="connsiteY96" fmla="*/ 2320290 h 2362200"/>
              <a:gd name="connsiteX97" fmla="*/ 720090 w 3467100"/>
              <a:gd name="connsiteY97" fmla="*/ 2324100 h 2362200"/>
              <a:gd name="connsiteX98" fmla="*/ 613410 w 3467100"/>
              <a:gd name="connsiteY98" fmla="*/ 2202180 h 2362200"/>
              <a:gd name="connsiteX99" fmla="*/ 434340 w 3467100"/>
              <a:gd name="connsiteY99" fmla="*/ 1687830 h 2362200"/>
              <a:gd name="connsiteX100" fmla="*/ 392430 w 3467100"/>
              <a:gd name="connsiteY100" fmla="*/ 1691640 h 2362200"/>
              <a:gd name="connsiteX101" fmla="*/ 316230 w 3467100"/>
              <a:gd name="connsiteY101" fmla="*/ 2042160 h 2362200"/>
              <a:gd name="connsiteX102" fmla="*/ 388620 w 3467100"/>
              <a:gd name="connsiteY102" fmla="*/ 2266950 h 2362200"/>
              <a:gd name="connsiteX103" fmla="*/ 426720 w 3467100"/>
              <a:gd name="connsiteY103" fmla="*/ 2274570 h 2362200"/>
              <a:gd name="connsiteX104" fmla="*/ 445770 w 3467100"/>
              <a:gd name="connsiteY104" fmla="*/ 2293620 h 2362200"/>
              <a:gd name="connsiteX105" fmla="*/ 453390 w 3467100"/>
              <a:gd name="connsiteY105" fmla="*/ 2301240 h 2362200"/>
              <a:gd name="connsiteX106" fmla="*/ 464820 w 3467100"/>
              <a:gd name="connsiteY106" fmla="*/ 2335530 h 2362200"/>
              <a:gd name="connsiteX107" fmla="*/ 209550 w 3467100"/>
              <a:gd name="connsiteY107" fmla="*/ 2358390 h 2362200"/>
              <a:gd name="connsiteX108" fmla="*/ 144780 w 3467100"/>
              <a:gd name="connsiteY108" fmla="*/ 1767840 h 2362200"/>
              <a:gd name="connsiteX109" fmla="*/ 125730 w 3467100"/>
              <a:gd name="connsiteY109" fmla="*/ 1592580 h 2362200"/>
              <a:gd name="connsiteX110" fmla="*/ 182880 w 3467100"/>
              <a:gd name="connsiteY110" fmla="*/ 1310640 h 2362200"/>
              <a:gd name="connsiteX111" fmla="*/ 118110 w 3467100"/>
              <a:gd name="connsiteY111" fmla="*/ 933450 h 2362200"/>
              <a:gd name="connsiteX112" fmla="*/ 102870 w 3467100"/>
              <a:gd name="connsiteY112" fmla="*/ 929640 h 2362200"/>
              <a:gd name="connsiteX113" fmla="*/ 102870 w 3467100"/>
              <a:gd name="connsiteY113" fmla="*/ 1002030 h 2362200"/>
              <a:gd name="connsiteX114" fmla="*/ 110490 w 3467100"/>
              <a:gd name="connsiteY114" fmla="*/ 1181100 h 2362200"/>
              <a:gd name="connsiteX115" fmla="*/ 95250 w 3467100"/>
              <a:gd name="connsiteY115" fmla="*/ 1322070 h 2362200"/>
              <a:gd name="connsiteX116" fmla="*/ 83820 w 3467100"/>
              <a:gd name="connsiteY116" fmla="*/ 1360170 h 2362200"/>
              <a:gd name="connsiteX117" fmla="*/ 76200 w 3467100"/>
              <a:gd name="connsiteY117" fmla="*/ 1379220 h 2362200"/>
              <a:gd name="connsiteX118" fmla="*/ 64770 w 3467100"/>
              <a:gd name="connsiteY118" fmla="*/ 1383030 h 2362200"/>
              <a:gd name="connsiteX119" fmla="*/ 53340 w 3467100"/>
              <a:gd name="connsiteY119" fmla="*/ 1390650 h 2362200"/>
              <a:gd name="connsiteX120" fmla="*/ 0 w 3467100"/>
              <a:gd name="connsiteY120" fmla="*/ 1398270 h 2362200"/>
              <a:gd name="connsiteX121" fmla="*/ 0 w 3467100"/>
              <a:gd name="connsiteY121" fmla="*/ 1215390 h 2362200"/>
              <a:gd name="connsiteX122" fmla="*/ 38100 w 3467100"/>
              <a:gd name="connsiteY122" fmla="*/ 933450 h 2362200"/>
              <a:gd name="connsiteX123" fmla="*/ 72390 w 3467100"/>
              <a:gd name="connsiteY123" fmla="*/ 601980 h 2362200"/>
              <a:gd name="connsiteX124" fmla="*/ 91440 w 3467100"/>
              <a:gd name="connsiteY124" fmla="*/ 537210 h 2362200"/>
              <a:gd name="connsiteX0" fmla="*/ 91440 w 3467100"/>
              <a:gd name="connsiteY0" fmla="*/ 537210 h 2362200"/>
              <a:gd name="connsiteX1" fmla="*/ 91440 w 3467100"/>
              <a:gd name="connsiteY1" fmla="*/ 537210 h 2362200"/>
              <a:gd name="connsiteX2" fmla="*/ 102870 w 3467100"/>
              <a:gd name="connsiteY2" fmla="*/ 502920 h 2362200"/>
              <a:gd name="connsiteX3" fmla="*/ 106680 w 3467100"/>
              <a:gd name="connsiteY3" fmla="*/ 487680 h 2362200"/>
              <a:gd name="connsiteX4" fmla="*/ 118110 w 3467100"/>
              <a:gd name="connsiteY4" fmla="*/ 468630 h 2362200"/>
              <a:gd name="connsiteX5" fmla="*/ 125730 w 3467100"/>
              <a:gd name="connsiteY5" fmla="*/ 457200 h 2362200"/>
              <a:gd name="connsiteX6" fmla="*/ 137160 w 3467100"/>
              <a:gd name="connsiteY6" fmla="*/ 449580 h 2362200"/>
              <a:gd name="connsiteX7" fmla="*/ 144780 w 3467100"/>
              <a:gd name="connsiteY7" fmla="*/ 438150 h 2362200"/>
              <a:gd name="connsiteX8" fmla="*/ 179070 w 3467100"/>
              <a:gd name="connsiteY8" fmla="*/ 419100 h 2362200"/>
              <a:gd name="connsiteX9" fmla="*/ 194310 w 3467100"/>
              <a:gd name="connsiteY9" fmla="*/ 415290 h 2362200"/>
              <a:gd name="connsiteX10" fmla="*/ 209550 w 3467100"/>
              <a:gd name="connsiteY10" fmla="*/ 407670 h 2362200"/>
              <a:gd name="connsiteX11" fmla="*/ 220980 w 3467100"/>
              <a:gd name="connsiteY11" fmla="*/ 403860 h 2362200"/>
              <a:gd name="connsiteX12" fmla="*/ 232410 w 3467100"/>
              <a:gd name="connsiteY12" fmla="*/ 396240 h 2362200"/>
              <a:gd name="connsiteX13" fmla="*/ 293370 w 3467100"/>
              <a:gd name="connsiteY13" fmla="*/ 388620 h 2362200"/>
              <a:gd name="connsiteX14" fmla="*/ 438150 w 3467100"/>
              <a:gd name="connsiteY14" fmla="*/ 388620 h 2362200"/>
              <a:gd name="connsiteX15" fmla="*/ 472440 w 3467100"/>
              <a:gd name="connsiteY15" fmla="*/ 396240 h 2362200"/>
              <a:gd name="connsiteX16" fmla="*/ 514350 w 3467100"/>
              <a:gd name="connsiteY16" fmla="*/ 400050 h 2362200"/>
              <a:gd name="connsiteX17" fmla="*/ 548640 w 3467100"/>
              <a:gd name="connsiteY17" fmla="*/ 403860 h 2362200"/>
              <a:gd name="connsiteX18" fmla="*/ 666750 w 3467100"/>
              <a:gd name="connsiteY18" fmla="*/ 400050 h 2362200"/>
              <a:gd name="connsiteX19" fmla="*/ 1497330 w 3467100"/>
              <a:gd name="connsiteY19" fmla="*/ 403860 h 2362200"/>
              <a:gd name="connsiteX20" fmla="*/ 2164080 w 3467100"/>
              <a:gd name="connsiteY20" fmla="*/ 327660 h 2362200"/>
              <a:gd name="connsiteX21" fmla="*/ 2617470 w 3467100"/>
              <a:gd name="connsiteY21" fmla="*/ 274320 h 2362200"/>
              <a:gd name="connsiteX22" fmla="*/ 2613660 w 3467100"/>
              <a:gd name="connsiteY22" fmla="*/ 224790 h 2362200"/>
              <a:gd name="connsiteX23" fmla="*/ 2526030 w 3467100"/>
              <a:gd name="connsiteY23" fmla="*/ 95250 h 2362200"/>
              <a:gd name="connsiteX24" fmla="*/ 2529840 w 3467100"/>
              <a:gd name="connsiteY24" fmla="*/ 53340 h 2362200"/>
              <a:gd name="connsiteX25" fmla="*/ 2617470 w 3467100"/>
              <a:gd name="connsiteY25" fmla="*/ 68580 h 2362200"/>
              <a:gd name="connsiteX26" fmla="*/ 2621280 w 3467100"/>
              <a:gd name="connsiteY26" fmla="*/ 76200 h 2362200"/>
              <a:gd name="connsiteX27" fmla="*/ 2739390 w 3467100"/>
              <a:gd name="connsiteY27" fmla="*/ 163830 h 2362200"/>
              <a:gd name="connsiteX28" fmla="*/ 2979420 w 3467100"/>
              <a:gd name="connsiteY28" fmla="*/ 140970 h 2362200"/>
              <a:gd name="connsiteX29" fmla="*/ 3181350 w 3467100"/>
              <a:gd name="connsiteY29" fmla="*/ 0 h 2362200"/>
              <a:gd name="connsiteX30" fmla="*/ 3219450 w 3467100"/>
              <a:gd name="connsiteY30" fmla="*/ 0 h 2362200"/>
              <a:gd name="connsiteX31" fmla="*/ 3249930 w 3467100"/>
              <a:gd name="connsiteY31" fmla="*/ 11430 h 2362200"/>
              <a:gd name="connsiteX32" fmla="*/ 3253740 w 3467100"/>
              <a:gd name="connsiteY32" fmla="*/ 26670 h 2362200"/>
              <a:gd name="connsiteX33" fmla="*/ 3261360 w 3467100"/>
              <a:gd name="connsiteY33" fmla="*/ 49530 h 2362200"/>
              <a:gd name="connsiteX34" fmla="*/ 3242310 w 3467100"/>
              <a:gd name="connsiteY34" fmla="*/ 95250 h 2362200"/>
              <a:gd name="connsiteX35" fmla="*/ 3227070 w 3467100"/>
              <a:gd name="connsiteY35" fmla="*/ 99060 h 2362200"/>
              <a:gd name="connsiteX36" fmla="*/ 3215640 w 3467100"/>
              <a:gd name="connsiteY36" fmla="*/ 102870 h 2362200"/>
              <a:gd name="connsiteX37" fmla="*/ 3070860 w 3467100"/>
              <a:gd name="connsiteY37" fmla="*/ 190500 h 2362200"/>
              <a:gd name="connsiteX38" fmla="*/ 3352800 w 3467100"/>
              <a:gd name="connsiteY38" fmla="*/ 480060 h 2362200"/>
              <a:gd name="connsiteX39" fmla="*/ 3467100 w 3467100"/>
              <a:gd name="connsiteY39" fmla="*/ 598170 h 2362200"/>
              <a:gd name="connsiteX40" fmla="*/ 3436620 w 3467100"/>
              <a:gd name="connsiteY40" fmla="*/ 742950 h 2362200"/>
              <a:gd name="connsiteX41" fmla="*/ 3360420 w 3467100"/>
              <a:gd name="connsiteY41" fmla="*/ 777240 h 2362200"/>
              <a:gd name="connsiteX42" fmla="*/ 3158490 w 3467100"/>
              <a:gd name="connsiteY42" fmla="*/ 784860 h 2362200"/>
              <a:gd name="connsiteX43" fmla="*/ 2929890 w 3467100"/>
              <a:gd name="connsiteY43" fmla="*/ 872490 h 2362200"/>
              <a:gd name="connsiteX44" fmla="*/ 2800350 w 3467100"/>
              <a:gd name="connsiteY44" fmla="*/ 941070 h 2362200"/>
              <a:gd name="connsiteX45" fmla="*/ 2632710 w 3467100"/>
              <a:gd name="connsiteY45" fmla="*/ 1238250 h 2362200"/>
              <a:gd name="connsiteX46" fmla="*/ 2529840 w 3467100"/>
              <a:gd name="connsiteY46" fmla="*/ 1447800 h 2362200"/>
              <a:gd name="connsiteX47" fmla="*/ 2491740 w 3467100"/>
              <a:gd name="connsiteY47" fmla="*/ 1489710 h 2362200"/>
              <a:gd name="connsiteX48" fmla="*/ 2461260 w 3467100"/>
              <a:gd name="connsiteY48" fmla="*/ 1504950 h 2362200"/>
              <a:gd name="connsiteX49" fmla="*/ 2442210 w 3467100"/>
              <a:gd name="connsiteY49" fmla="*/ 1508760 h 2362200"/>
              <a:gd name="connsiteX50" fmla="*/ 2419350 w 3467100"/>
              <a:gd name="connsiteY50" fmla="*/ 1516380 h 2362200"/>
              <a:gd name="connsiteX51" fmla="*/ 2404110 w 3467100"/>
              <a:gd name="connsiteY51" fmla="*/ 1520190 h 2362200"/>
              <a:gd name="connsiteX52" fmla="*/ 2381250 w 3467100"/>
              <a:gd name="connsiteY52" fmla="*/ 1535430 h 2362200"/>
              <a:gd name="connsiteX53" fmla="*/ 2350770 w 3467100"/>
              <a:gd name="connsiteY53" fmla="*/ 1554480 h 2362200"/>
              <a:gd name="connsiteX54" fmla="*/ 2339340 w 3467100"/>
              <a:gd name="connsiteY54" fmla="*/ 1577340 h 2362200"/>
              <a:gd name="connsiteX55" fmla="*/ 2339340 w 3467100"/>
              <a:gd name="connsiteY55" fmla="*/ 1581150 h 2362200"/>
              <a:gd name="connsiteX56" fmla="*/ 2305050 w 3467100"/>
              <a:gd name="connsiteY56" fmla="*/ 1824990 h 2362200"/>
              <a:gd name="connsiteX57" fmla="*/ 2297430 w 3467100"/>
              <a:gd name="connsiteY57" fmla="*/ 1985010 h 2362200"/>
              <a:gd name="connsiteX58" fmla="*/ 2449830 w 3467100"/>
              <a:gd name="connsiteY58" fmla="*/ 2270760 h 2362200"/>
              <a:gd name="connsiteX59" fmla="*/ 2506980 w 3467100"/>
              <a:gd name="connsiteY59" fmla="*/ 2316480 h 2362200"/>
              <a:gd name="connsiteX60" fmla="*/ 2484120 w 3467100"/>
              <a:gd name="connsiteY60" fmla="*/ 2354580 h 2362200"/>
              <a:gd name="connsiteX61" fmla="*/ 2297430 w 3467100"/>
              <a:gd name="connsiteY61" fmla="*/ 2362200 h 2362200"/>
              <a:gd name="connsiteX62" fmla="*/ 2129790 w 3467100"/>
              <a:gd name="connsiteY62" fmla="*/ 1855470 h 2362200"/>
              <a:gd name="connsiteX63" fmla="*/ 2065020 w 3467100"/>
              <a:gd name="connsiteY63" fmla="*/ 1805940 h 2362200"/>
              <a:gd name="connsiteX64" fmla="*/ 2080260 w 3467100"/>
              <a:gd name="connsiteY64" fmla="*/ 2129790 h 2362200"/>
              <a:gd name="connsiteX65" fmla="*/ 2190750 w 3467100"/>
              <a:gd name="connsiteY65" fmla="*/ 2289810 h 2362200"/>
              <a:gd name="connsiteX66" fmla="*/ 2171700 w 3467100"/>
              <a:gd name="connsiteY66" fmla="*/ 2301240 h 2362200"/>
              <a:gd name="connsiteX67" fmla="*/ 1962150 w 3467100"/>
              <a:gd name="connsiteY67" fmla="*/ 2320290 h 2362200"/>
              <a:gd name="connsiteX68" fmla="*/ 1924050 w 3467100"/>
              <a:gd name="connsiteY68" fmla="*/ 2198370 h 2362200"/>
              <a:gd name="connsiteX69" fmla="*/ 1836420 w 3467100"/>
              <a:gd name="connsiteY69" fmla="*/ 1642110 h 2362200"/>
              <a:gd name="connsiteX70" fmla="*/ 1741170 w 3467100"/>
              <a:gd name="connsiteY70" fmla="*/ 1539240 h 2362200"/>
              <a:gd name="connsiteX71" fmla="*/ 1367790 w 3467100"/>
              <a:gd name="connsiteY71" fmla="*/ 1562100 h 2362200"/>
              <a:gd name="connsiteX72" fmla="*/ 1162050 w 3467100"/>
              <a:gd name="connsiteY72" fmla="*/ 1584960 h 2362200"/>
              <a:gd name="connsiteX73" fmla="*/ 1089660 w 3467100"/>
              <a:gd name="connsiteY73" fmla="*/ 1680210 h 2362200"/>
              <a:gd name="connsiteX74" fmla="*/ 1036320 w 3467100"/>
              <a:gd name="connsiteY74" fmla="*/ 1695450 h 2362200"/>
              <a:gd name="connsiteX75" fmla="*/ 994410 w 3467100"/>
              <a:gd name="connsiteY75" fmla="*/ 1695450 h 2362200"/>
              <a:gd name="connsiteX76" fmla="*/ 975360 w 3467100"/>
              <a:gd name="connsiteY76" fmla="*/ 1813560 h 2362200"/>
              <a:gd name="connsiteX77" fmla="*/ 941070 w 3467100"/>
              <a:gd name="connsiteY77" fmla="*/ 1809750 h 2362200"/>
              <a:gd name="connsiteX78" fmla="*/ 929640 w 3467100"/>
              <a:gd name="connsiteY78" fmla="*/ 1805940 h 2362200"/>
              <a:gd name="connsiteX79" fmla="*/ 925830 w 3467100"/>
              <a:gd name="connsiteY79" fmla="*/ 1790700 h 2362200"/>
              <a:gd name="connsiteX80" fmla="*/ 906780 w 3467100"/>
              <a:gd name="connsiteY80" fmla="*/ 1703070 h 2362200"/>
              <a:gd name="connsiteX81" fmla="*/ 876300 w 3467100"/>
              <a:gd name="connsiteY81" fmla="*/ 1703070 h 2362200"/>
              <a:gd name="connsiteX82" fmla="*/ 857250 w 3467100"/>
              <a:gd name="connsiteY82" fmla="*/ 1802130 h 2362200"/>
              <a:gd name="connsiteX83" fmla="*/ 849630 w 3467100"/>
              <a:gd name="connsiteY83" fmla="*/ 1836420 h 2362200"/>
              <a:gd name="connsiteX84" fmla="*/ 826770 w 3467100"/>
              <a:gd name="connsiteY84" fmla="*/ 1851660 h 2362200"/>
              <a:gd name="connsiteX85" fmla="*/ 811530 w 3467100"/>
              <a:gd name="connsiteY85" fmla="*/ 1847850 h 2362200"/>
              <a:gd name="connsiteX86" fmla="*/ 807720 w 3467100"/>
              <a:gd name="connsiteY86" fmla="*/ 1836420 h 2362200"/>
              <a:gd name="connsiteX87" fmla="*/ 800100 w 3467100"/>
              <a:gd name="connsiteY87" fmla="*/ 1828800 h 2362200"/>
              <a:gd name="connsiteX88" fmla="*/ 773430 w 3467100"/>
              <a:gd name="connsiteY88" fmla="*/ 1710690 h 2362200"/>
              <a:gd name="connsiteX89" fmla="*/ 693420 w 3467100"/>
              <a:gd name="connsiteY89" fmla="*/ 1718310 h 2362200"/>
              <a:gd name="connsiteX90" fmla="*/ 659130 w 3467100"/>
              <a:gd name="connsiteY90" fmla="*/ 1798320 h 2362200"/>
              <a:gd name="connsiteX91" fmla="*/ 697230 w 3467100"/>
              <a:gd name="connsiteY91" fmla="*/ 1927860 h 2362200"/>
              <a:gd name="connsiteX92" fmla="*/ 701040 w 3467100"/>
              <a:gd name="connsiteY92" fmla="*/ 1939290 h 2362200"/>
              <a:gd name="connsiteX93" fmla="*/ 777240 w 3467100"/>
              <a:gd name="connsiteY93" fmla="*/ 2171700 h 2362200"/>
              <a:gd name="connsiteX94" fmla="*/ 963930 w 3467100"/>
              <a:gd name="connsiteY94" fmla="*/ 2270760 h 2362200"/>
              <a:gd name="connsiteX95" fmla="*/ 944880 w 3467100"/>
              <a:gd name="connsiteY95" fmla="*/ 2320290 h 2362200"/>
              <a:gd name="connsiteX96" fmla="*/ 720090 w 3467100"/>
              <a:gd name="connsiteY96" fmla="*/ 2324100 h 2362200"/>
              <a:gd name="connsiteX97" fmla="*/ 613410 w 3467100"/>
              <a:gd name="connsiteY97" fmla="*/ 2202180 h 2362200"/>
              <a:gd name="connsiteX98" fmla="*/ 434340 w 3467100"/>
              <a:gd name="connsiteY98" fmla="*/ 1687830 h 2362200"/>
              <a:gd name="connsiteX99" fmla="*/ 392430 w 3467100"/>
              <a:gd name="connsiteY99" fmla="*/ 1691640 h 2362200"/>
              <a:gd name="connsiteX100" fmla="*/ 316230 w 3467100"/>
              <a:gd name="connsiteY100" fmla="*/ 2042160 h 2362200"/>
              <a:gd name="connsiteX101" fmla="*/ 388620 w 3467100"/>
              <a:gd name="connsiteY101" fmla="*/ 2266950 h 2362200"/>
              <a:gd name="connsiteX102" fmla="*/ 426720 w 3467100"/>
              <a:gd name="connsiteY102" fmla="*/ 2274570 h 2362200"/>
              <a:gd name="connsiteX103" fmla="*/ 445770 w 3467100"/>
              <a:gd name="connsiteY103" fmla="*/ 2293620 h 2362200"/>
              <a:gd name="connsiteX104" fmla="*/ 453390 w 3467100"/>
              <a:gd name="connsiteY104" fmla="*/ 2301240 h 2362200"/>
              <a:gd name="connsiteX105" fmla="*/ 464820 w 3467100"/>
              <a:gd name="connsiteY105" fmla="*/ 2335530 h 2362200"/>
              <a:gd name="connsiteX106" fmla="*/ 209550 w 3467100"/>
              <a:gd name="connsiteY106" fmla="*/ 2358390 h 2362200"/>
              <a:gd name="connsiteX107" fmla="*/ 144780 w 3467100"/>
              <a:gd name="connsiteY107" fmla="*/ 1767840 h 2362200"/>
              <a:gd name="connsiteX108" fmla="*/ 125730 w 3467100"/>
              <a:gd name="connsiteY108" fmla="*/ 1592580 h 2362200"/>
              <a:gd name="connsiteX109" fmla="*/ 182880 w 3467100"/>
              <a:gd name="connsiteY109" fmla="*/ 1310640 h 2362200"/>
              <a:gd name="connsiteX110" fmla="*/ 118110 w 3467100"/>
              <a:gd name="connsiteY110" fmla="*/ 933450 h 2362200"/>
              <a:gd name="connsiteX111" fmla="*/ 102870 w 3467100"/>
              <a:gd name="connsiteY111" fmla="*/ 929640 h 2362200"/>
              <a:gd name="connsiteX112" fmla="*/ 102870 w 3467100"/>
              <a:gd name="connsiteY112" fmla="*/ 1002030 h 2362200"/>
              <a:gd name="connsiteX113" fmla="*/ 110490 w 3467100"/>
              <a:gd name="connsiteY113" fmla="*/ 1181100 h 2362200"/>
              <a:gd name="connsiteX114" fmla="*/ 95250 w 3467100"/>
              <a:gd name="connsiteY114" fmla="*/ 1322070 h 2362200"/>
              <a:gd name="connsiteX115" fmla="*/ 83820 w 3467100"/>
              <a:gd name="connsiteY115" fmla="*/ 1360170 h 2362200"/>
              <a:gd name="connsiteX116" fmla="*/ 76200 w 3467100"/>
              <a:gd name="connsiteY116" fmla="*/ 1379220 h 2362200"/>
              <a:gd name="connsiteX117" fmla="*/ 64770 w 3467100"/>
              <a:gd name="connsiteY117" fmla="*/ 1383030 h 2362200"/>
              <a:gd name="connsiteX118" fmla="*/ 53340 w 3467100"/>
              <a:gd name="connsiteY118" fmla="*/ 1390650 h 2362200"/>
              <a:gd name="connsiteX119" fmla="*/ 0 w 3467100"/>
              <a:gd name="connsiteY119" fmla="*/ 1398270 h 2362200"/>
              <a:gd name="connsiteX120" fmla="*/ 0 w 3467100"/>
              <a:gd name="connsiteY120" fmla="*/ 1215390 h 2362200"/>
              <a:gd name="connsiteX121" fmla="*/ 38100 w 3467100"/>
              <a:gd name="connsiteY121" fmla="*/ 933450 h 2362200"/>
              <a:gd name="connsiteX122" fmla="*/ 72390 w 3467100"/>
              <a:gd name="connsiteY122" fmla="*/ 601980 h 2362200"/>
              <a:gd name="connsiteX123" fmla="*/ 91440 w 3467100"/>
              <a:gd name="connsiteY123" fmla="*/ 537210 h 2362200"/>
              <a:gd name="connsiteX0" fmla="*/ 91440 w 3467100"/>
              <a:gd name="connsiteY0" fmla="*/ 537210 h 2362200"/>
              <a:gd name="connsiteX1" fmla="*/ 91440 w 3467100"/>
              <a:gd name="connsiteY1" fmla="*/ 537210 h 2362200"/>
              <a:gd name="connsiteX2" fmla="*/ 102870 w 3467100"/>
              <a:gd name="connsiteY2" fmla="*/ 502920 h 2362200"/>
              <a:gd name="connsiteX3" fmla="*/ 106680 w 3467100"/>
              <a:gd name="connsiteY3" fmla="*/ 487680 h 2362200"/>
              <a:gd name="connsiteX4" fmla="*/ 118110 w 3467100"/>
              <a:gd name="connsiteY4" fmla="*/ 468630 h 2362200"/>
              <a:gd name="connsiteX5" fmla="*/ 125730 w 3467100"/>
              <a:gd name="connsiteY5" fmla="*/ 457200 h 2362200"/>
              <a:gd name="connsiteX6" fmla="*/ 137160 w 3467100"/>
              <a:gd name="connsiteY6" fmla="*/ 449580 h 2362200"/>
              <a:gd name="connsiteX7" fmla="*/ 144780 w 3467100"/>
              <a:gd name="connsiteY7" fmla="*/ 438150 h 2362200"/>
              <a:gd name="connsiteX8" fmla="*/ 179070 w 3467100"/>
              <a:gd name="connsiteY8" fmla="*/ 419100 h 2362200"/>
              <a:gd name="connsiteX9" fmla="*/ 194310 w 3467100"/>
              <a:gd name="connsiteY9" fmla="*/ 415290 h 2362200"/>
              <a:gd name="connsiteX10" fmla="*/ 209550 w 3467100"/>
              <a:gd name="connsiteY10" fmla="*/ 407670 h 2362200"/>
              <a:gd name="connsiteX11" fmla="*/ 220980 w 3467100"/>
              <a:gd name="connsiteY11" fmla="*/ 403860 h 2362200"/>
              <a:gd name="connsiteX12" fmla="*/ 232410 w 3467100"/>
              <a:gd name="connsiteY12" fmla="*/ 396240 h 2362200"/>
              <a:gd name="connsiteX13" fmla="*/ 293370 w 3467100"/>
              <a:gd name="connsiteY13" fmla="*/ 388620 h 2362200"/>
              <a:gd name="connsiteX14" fmla="*/ 438150 w 3467100"/>
              <a:gd name="connsiteY14" fmla="*/ 388620 h 2362200"/>
              <a:gd name="connsiteX15" fmla="*/ 472440 w 3467100"/>
              <a:gd name="connsiteY15" fmla="*/ 396240 h 2362200"/>
              <a:gd name="connsiteX16" fmla="*/ 514350 w 3467100"/>
              <a:gd name="connsiteY16" fmla="*/ 400050 h 2362200"/>
              <a:gd name="connsiteX17" fmla="*/ 548640 w 3467100"/>
              <a:gd name="connsiteY17" fmla="*/ 403860 h 2362200"/>
              <a:gd name="connsiteX18" fmla="*/ 666750 w 3467100"/>
              <a:gd name="connsiteY18" fmla="*/ 400050 h 2362200"/>
              <a:gd name="connsiteX19" fmla="*/ 1497330 w 3467100"/>
              <a:gd name="connsiteY19" fmla="*/ 403860 h 2362200"/>
              <a:gd name="connsiteX20" fmla="*/ 2164080 w 3467100"/>
              <a:gd name="connsiteY20" fmla="*/ 327660 h 2362200"/>
              <a:gd name="connsiteX21" fmla="*/ 2617470 w 3467100"/>
              <a:gd name="connsiteY21" fmla="*/ 274320 h 2362200"/>
              <a:gd name="connsiteX22" fmla="*/ 2613660 w 3467100"/>
              <a:gd name="connsiteY22" fmla="*/ 224790 h 2362200"/>
              <a:gd name="connsiteX23" fmla="*/ 2526030 w 3467100"/>
              <a:gd name="connsiteY23" fmla="*/ 95250 h 2362200"/>
              <a:gd name="connsiteX24" fmla="*/ 2529840 w 3467100"/>
              <a:gd name="connsiteY24" fmla="*/ 53340 h 2362200"/>
              <a:gd name="connsiteX25" fmla="*/ 2617470 w 3467100"/>
              <a:gd name="connsiteY25" fmla="*/ 68580 h 2362200"/>
              <a:gd name="connsiteX26" fmla="*/ 2621280 w 3467100"/>
              <a:gd name="connsiteY26" fmla="*/ 76200 h 2362200"/>
              <a:gd name="connsiteX27" fmla="*/ 2739390 w 3467100"/>
              <a:gd name="connsiteY27" fmla="*/ 163830 h 2362200"/>
              <a:gd name="connsiteX28" fmla="*/ 2979420 w 3467100"/>
              <a:gd name="connsiteY28" fmla="*/ 140970 h 2362200"/>
              <a:gd name="connsiteX29" fmla="*/ 3181350 w 3467100"/>
              <a:gd name="connsiteY29" fmla="*/ 0 h 2362200"/>
              <a:gd name="connsiteX30" fmla="*/ 3219450 w 3467100"/>
              <a:gd name="connsiteY30" fmla="*/ 0 h 2362200"/>
              <a:gd name="connsiteX31" fmla="*/ 3249930 w 3467100"/>
              <a:gd name="connsiteY31" fmla="*/ 11430 h 2362200"/>
              <a:gd name="connsiteX32" fmla="*/ 3253740 w 3467100"/>
              <a:gd name="connsiteY32" fmla="*/ 26670 h 2362200"/>
              <a:gd name="connsiteX33" fmla="*/ 3261360 w 3467100"/>
              <a:gd name="connsiteY33" fmla="*/ 49530 h 2362200"/>
              <a:gd name="connsiteX34" fmla="*/ 3242310 w 3467100"/>
              <a:gd name="connsiteY34" fmla="*/ 95250 h 2362200"/>
              <a:gd name="connsiteX35" fmla="*/ 3227070 w 3467100"/>
              <a:gd name="connsiteY35" fmla="*/ 99060 h 2362200"/>
              <a:gd name="connsiteX36" fmla="*/ 3215640 w 3467100"/>
              <a:gd name="connsiteY36" fmla="*/ 102870 h 2362200"/>
              <a:gd name="connsiteX37" fmla="*/ 3070860 w 3467100"/>
              <a:gd name="connsiteY37" fmla="*/ 190500 h 2362200"/>
              <a:gd name="connsiteX38" fmla="*/ 3352800 w 3467100"/>
              <a:gd name="connsiteY38" fmla="*/ 480060 h 2362200"/>
              <a:gd name="connsiteX39" fmla="*/ 3467100 w 3467100"/>
              <a:gd name="connsiteY39" fmla="*/ 598170 h 2362200"/>
              <a:gd name="connsiteX40" fmla="*/ 3436620 w 3467100"/>
              <a:gd name="connsiteY40" fmla="*/ 742950 h 2362200"/>
              <a:gd name="connsiteX41" fmla="*/ 3360420 w 3467100"/>
              <a:gd name="connsiteY41" fmla="*/ 777240 h 2362200"/>
              <a:gd name="connsiteX42" fmla="*/ 3158490 w 3467100"/>
              <a:gd name="connsiteY42" fmla="*/ 784860 h 2362200"/>
              <a:gd name="connsiteX43" fmla="*/ 2929890 w 3467100"/>
              <a:gd name="connsiteY43" fmla="*/ 872490 h 2362200"/>
              <a:gd name="connsiteX44" fmla="*/ 2800350 w 3467100"/>
              <a:gd name="connsiteY44" fmla="*/ 941070 h 2362200"/>
              <a:gd name="connsiteX45" fmla="*/ 2632710 w 3467100"/>
              <a:gd name="connsiteY45" fmla="*/ 1238250 h 2362200"/>
              <a:gd name="connsiteX46" fmla="*/ 2529840 w 3467100"/>
              <a:gd name="connsiteY46" fmla="*/ 1447800 h 2362200"/>
              <a:gd name="connsiteX47" fmla="*/ 2491740 w 3467100"/>
              <a:gd name="connsiteY47" fmla="*/ 1489710 h 2362200"/>
              <a:gd name="connsiteX48" fmla="*/ 2461260 w 3467100"/>
              <a:gd name="connsiteY48" fmla="*/ 1504950 h 2362200"/>
              <a:gd name="connsiteX49" fmla="*/ 2442210 w 3467100"/>
              <a:gd name="connsiteY49" fmla="*/ 1508760 h 2362200"/>
              <a:gd name="connsiteX50" fmla="*/ 2419350 w 3467100"/>
              <a:gd name="connsiteY50" fmla="*/ 1516380 h 2362200"/>
              <a:gd name="connsiteX51" fmla="*/ 2404110 w 3467100"/>
              <a:gd name="connsiteY51" fmla="*/ 1520190 h 2362200"/>
              <a:gd name="connsiteX52" fmla="*/ 2381250 w 3467100"/>
              <a:gd name="connsiteY52" fmla="*/ 1535430 h 2362200"/>
              <a:gd name="connsiteX53" fmla="*/ 2350770 w 3467100"/>
              <a:gd name="connsiteY53" fmla="*/ 1554480 h 2362200"/>
              <a:gd name="connsiteX54" fmla="*/ 2339340 w 3467100"/>
              <a:gd name="connsiteY54" fmla="*/ 1577340 h 2362200"/>
              <a:gd name="connsiteX55" fmla="*/ 2339340 w 3467100"/>
              <a:gd name="connsiteY55" fmla="*/ 1581150 h 2362200"/>
              <a:gd name="connsiteX56" fmla="*/ 2305050 w 3467100"/>
              <a:gd name="connsiteY56" fmla="*/ 1824990 h 2362200"/>
              <a:gd name="connsiteX57" fmla="*/ 2297430 w 3467100"/>
              <a:gd name="connsiteY57" fmla="*/ 1985010 h 2362200"/>
              <a:gd name="connsiteX58" fmla="*/ 2449830 w 3467100"/>
              <a:gd name="connsiteY58" fmla="*/ 2270760 h 2362200"/>
              <a:gd name="connsiteX59" fmla="*/ 2506980 w 3467100"/>
              <a:gd name="connsiteY59" fmla="*/ 2316480 h 2362200"/>
              <a:gd name="connsiteX60" fmla="*/ 2484120 w 3467100"/>
              <a:gd name="connsiteY60" fmla="*/ 2354580 h 2362200"/>
              <a:gd name="connsiteX61" fmla="*/ 2297430 w 3467100"/>
              <a:gd name="connsiteY61" fmla="*/ 2362200 h 2362200"/>
              <a:gd name="connsiteX62" fmla="*/ 2129790 w 3467100"/>
              <a:gd name="connsiteY62" fmla="*/ 1855470 h 2362200"/>
              <a:gd name="connsiteX63" fmla="*/ 2065020 w 3467100"/>
              <a:gd name="connsiteY63" fmla="*/ 1805940 h 2362200"/>
              <a:gd name="connsiteX64" fmla="*/ 2080260 w 3467100"/>
              <a:gd name="connsiteY64" fmla="*/ 2129790 h 2362200"/>
              <a:gd name="connsiteX65" fmla="*/ 2190750 w 3467100"/>
              <a:gd name="connsiteY65" fmla="*/ 2289810 h 2362200"/>
              <a:gd name="connsiteX66" fmla="*/ 2171700 w 3467100"/>
              <a:gd name="connsiteY66" fmla="*/ 2301240 h 2362200"/>
              <a:gd name="connsiteX67" fmla="*/ 1962150 w 3467100"/>
              <a:gd name="connsiteY67" fmla="*/ 2320290 h 2362200"/>
              <a:gd name="connsiteX68" fmla="*/ 1924050 w 3467100"/>
              <a:gd name="connsiteY68" fmla="*/ 2198370 h 2362200"/>
              <a:gd name="connsiteX69" fmla="*/ 1836420 w 3467100"/>
              <a:gd name="connsiteY69" fmla="*/ 1642110 h 2362200"/>
              <a:gd name="connsiteX70" fmla="*/ 1741170 w 3467100"/>
              <a:gd name="connsiteY70" fmla="*/ 1539240 h 2362200"/>
              <a:gd name="connsiteX71" fmla="*/ 1367790 w 3467100"/>
              <a:gd name="connsiteY71" fmla="*/ 1562100 h 2362200"/>
              <a:gd name="connsiteX72" fmla="*/ 1162050 w 3467100"/>
              <a:gd name="connsiteY72" fmla="*/ 1584960 h 2362200"/>
              <a:gd name="connsiteX73" fmla="*/ 1089660 w 3467100"/>
              <a:gd name="connsiteY73" fmla="*/ 1680210 h 2362200"/>
              <a:gd name="connsiteX74" fmla="*/ 1036320 w 3467100"/>
              <a:gd name="connsiteY74" fmla="*/ 1695450 h 2362200"/>
              <a:gd name="connsiteX75" fmla="*/ 994410 w 3467100"/>
              <a:gd name="connsiteY75" fmla="*/ 1695450 h 2362200"/>
              <a:gd name="connsiteX76" fmla="*/ 975360 w 3467100"/>
              <a:gd name="connsiteY76" fmla="*/ 1813560 h 2362200"/>
              <a:gd name="connsiteX77" fmla="*/ 941070 w 3467100"/>
              <a:gd name="connsiteY77" fmla="*/ 1809750 h 2362200"/>
              <a:gd name="connsiteX78" fmla="*/ 929640 w 3467100"/>
              <a:gd name="connsiteY78" fmla="*/ 1805940 h 2362200"/>
              <a:gd name="connsiteX79" fmla="*/ 925830 w 3467100"/>
              <a:gd name="connsiteY79" fmla="*/ 1790700 h 2362200"/>
              <a:gd name="connsiteX80" fmla="*/ 906780 w 3467100"/>
              <a:gd name="connsiteY80" fmla="*/ 1703070 h 2362200"/>
              <a:gd name="connsiteX81" fmla="*/ 876300 w 3467100"/>
              <a:gd name="connsiteY81" fmla="*/ 1703070 h 2362200"/>
              <a:gd name="connsiteX82" fmla="*/ 857250 w 3467100"/>
              <a:gd name="connsiteY82" fmla="*/ 1802130 h 2362200"/>
              <a:gd name="connsiteX83" fmla="*/ 849630 w 3467100"/>
              <a:gd name="connsiteY83" fmla="*/ 1836420 h 2362200"/>
              <a:gd name="connsiteX84" fmla="*/ 826770 w 3467100"/>
              <a:gd name="connsiteY84" fmla="*/ 1851660 h 2362200"/>
              <a:gd name="connsiteX85" fmla="*/ 811530 w 3467100"/>
              <a:gd name="connsiteY85" fmla="*/ 1847850 h 2362200"/>
              <a:gd name="connsiteX86" fmla="*/ 807720 w 3467100"/>
              <a:gd name="connsiteY86" fmla="*/ 1836420 h 2362200"/>
              <a:gd name="connsiteX87" fmla="*/ 800100 w 3467100"/>
              <a:gd name="connsiteY87" fmla="*/ 1828800 h 2362200"/>
              <a:gd name="connsiteX88" fmla="*/ 773430 w 3467100"/>
              <a:gd name="connsiteY88" fmla="*/ 1710690 h 2362200"/>
              <a:gd name="connsiteX89" fmla="*/ 693420 w 3467100"/>
              <a:gd name="connsiteY89" fmla="*/ 1718310 h 2362200"/>
              <a:gd name="connsiteX90" fmla="*/ 659130 w 3467100"/>
              <a:gd name="connsiteY90" fmla="*/ 1798320 h 2362200"/>
              <a:gd name="connsiteX91" fmla="*/ 701040 w 3467100"/>
              <a:gd name="connsiteY91" fmla="*/ 1939290 h 2362200"/>
              <a:gd name="connsiteX92" fmla="*/ 777240 w 3467100"/>
              <a:gd name="connsiteY92" fmla="*/ 2171700 h 2362200"/>
              <a:gd name="connsiteX93" fmla="*/ 963930 w 3467100"/>
              <a:gd name="connsiteY93" fmla="*/ 2270760 h 2362200"/>
              <a:gd name="connsiteX94" fmla="*/ 944880 w 3467100"/>
              <a:gd name="connsiteY94" fmla="*/ 2320290 h 2362200"/>
              <a:gd name="connsiteX95" fmla="*/ 720090 w 3467100"/>
              <a:gd name="connsiteY95" fmla="*/ 2324100 h 2362200"/>
              <a:gd name="connsiteX96" fmla="*/ 613410 w 3467100"/>
              <a:gd name="connsiteY96" fmla="*/ 2202180 h 2362200"/>
              <a:gd name="connsiteX97" fmla="*/ 434340 w 3467100"/>
              <a:gd name="connsiteY97" fmla="*/ 1687830 h 2362200"/>
              <a:gd name="connsiteX98" fmla="*/ 392430 w 3467100"/>
              <a:gd name="connsiteY98" fmla="*/ 1691640 h 2362200"/>
              <a:gd name="connsiteX99" fmla="*/ 316230 w 3467100"/>
              <a:gd name="connsiteY99" fmla="*/ 2042160 h 2362200"/>
              <a:gd name="connsiteX100" fmla="*/ 388620 w 3467100"/>
              <a:gd name="connsiteY100" fmla="*/ 2266950 h 2362200"/>
              <a:gd name="connsiteX101" fmla="*/ 426720 w 3467100"/>
              <a:gd name="connsiteY101" fmla="*/ 2274570 h 2362200"/>
              <a:gd name="connsiteX102" fmla="*/ 445770 w 3467100"/>
              <a:gd name="connsiteY102" fmla="*/ 2293620 h 2362200"/>
              <a:gd name="connsiteX103" fmla="*/ 453390 w 3467100"/>
              <a:gd name="connsiteY103" fmla="*/ 2301240 h 2362200"/>
              <a:gd name="connsiteX104" fmla="*/ 464820 w 3467100"/>
              <a:gd name="connsiteY104" fmla="*/ 2335530 h 2362200"/>
              <a:gd name="connsiteX105" fmla="*/ 209550 w 3467100"/>
              <a:gd name="connsiteY105" fmla="*/ 2358390 h 2362200"/>
              <a:gd name="connsiteX106" fmla="*/ 144780 w 3467100"/>
              <a:gd name="connsiteY106" fmla="*/ 1767840 h 2362200"/>
              <a:gd name="connsiteX107" fmla="*/ 125730 w 3467100"/>
              <a:gd name="connsiteY107" fmla="*/ 1592580 h 2362200"/>
              <a:gd name="connsiteX108" fmla="*/ 182880 w 3467100"/>
              <a:gd name="connsiteY108" fmla="*/ 1310640 h 2362200"/>
              <a:gd name="connsiteX109" fmla="*/ 118110 w 3467100"/>
              <a:gd name="connsiteY109" fmla="*/ 933450 h 2362200"/>
              <a:gd name="connsiteX110" fmla="*/ 102870 w 3467100"/>
              <a:gd name="connsiteY110" fmla="*/ 929640 h 2362200"/>
              <a:gd name="connsiteX111" fmla="*/ 102870 w 3467100"/>
              <a:gd name="connsiteY111" fmla="*/ 1002030 h 2362200"/>
              <a:gd name="connsiteX112" fmla="*/ 110490 w 3467100"/>
              <a:gd name="connsiteY112" fmla="*/ 1181100 h 2362200"/>
              <a:gd name="connsiteX113" fmla="*/ 95250 w 3467100"/>
              <a:gd name="connsiteY113" fmla="*/ 1322070 h 2362200"/>
              <a:gd name="connsiteX114" fmla="*/ 83820 w 3467100"/>
              <a:gd name="connsiteY114" fmla="*/ 1360170 h 2362200"/>
              <a:gd name="connsiteX115" fmla="*/ 76200 w 3467100"/>
              <a:gd name="connsiteY115" fmla="*/ 1379220 h 2362200"/>
              <a:gd name="connsiteX116" fmla="*/ 64770 w 3467100"/>
              <a:gd name="connsiteY116" fmla="*/ 1383030 h 2362200"/>
              <a:gd name="connsiteX117" fmla="*/ 53340 w 3467100"/>
              <a:gd name="connsiteY117" fmla="*/ 1390650 h 2362200"/>
              <a:gd name="connsiteX118" fmla="*/ 0 w 3467100"/>
              <a:gd name="connsiteY118" fmla="*/ 1398270 h 2362200"/>
              <a:gd name="connsiteX119" fmla="*/ 0 w 3467100"/>
              <a:gd name="connsiteY119" fmla="*/ 1215390 h 2362200"/>
              <a:gd name="connsiteX120" fmla="*/ 38100 w 3467100"/>
              <a:gd name="connsiteY120" fmla="*/ 933450 h 2362200"/>
              <a:gd name="connsiteX121" fmla="*/ 72390 w 3467100"/>
              <a:gd name="connsiteY121" fmla="*/ 601980 h 2362200"/>
              <a:gd name="connsiteX122" fmla="*/ 91440 w 3467100"/>
              <a:gd name="connsiteY122" fmla="*/ 537210 h 2362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</a:cxnLst>
            <a:rect l="l" t="t" r="r" b="b"/>
            <a:pathLst>
              <a:path w="3467100" h="2362200" extrusionOk="0">
                <a:moveTo>
                  <a:pt x="91440" y="537210"/>
                </a:moveTo>
                <a:lnTo>
                  <a:pt x="91440" y="537210"/>
                </a:lnTo>
                <a:cubicBezTo>
                  <a:pt x="95250" y="525780"/>
                  <a:pt x="99327" y="514435"/>
                  <a:pt x="102870" y="502920"/>
                </a:cubicBezTo>
                <a:cubicBezTo>
                  <a:pt x="104410" y="497915"/>
                  <a:pt x="104553" y="492465"/>
                  <a:pt x="106680" y="487680"/>
                </a:cubicBezTo>
                <a:cubicBezTo>
                  <a:pt x="109688" y="480913"/>
                  <a:pt x="114185" y="474910"/>
                  <a:pt x="118110" y="468630"/>
                </a:cubicBezTo>
                <a:cubicBezTo>
                  <a:pt x="120537" y="464747"/>
                  <a:pt x="122492" y="460438"/>
                  <a:pt x="125730" y="457200"/>
                </a:cubicBezTo>
                <a:cubicBezTo>
                  <a:pt x="128968" y="453962"/>
                  <a:pt x="133350" y="452120"/>
                  <a:pt x="137160" y="449580"/>
                </a:cubicBezTo>
                <a:cubicBezTo>
                  <a:pt x="139700" y="445770"/>
                  <a:pt x="141334" y="441165"/>
                  <a:pt x="144780" y="438150"/>
                </a:cubicBezTo>
                <a:cubicBezTo>
                  <a:pt x="158011" y="426573"/>
                  <a:pt x="164640" y="423223"/>
                  <a:pt x="179070" y="419100"/>
                </a:cubicBezTo>
                <a:cubicBezTo>
                  <a:pt x="184105" y="417661"/>
                  <a:pt x="189407" y="417129"/>
                  <a:pt x="194310" y="415290"/>
                </a:cubicBezTo>
                <a:cubicBezTo>
                  <a:pt x="199628" y="413296"/>
                  <a:pt x="204330" y="409907"/>
                  <a:pt x="209550" y="407670"/>
                </a:cubicBezTo>
                <a:cubicBezTo>
                  <a:pt x="213241" y="406088"/>
                  <a:pt x="217388" y="405656"/>
                  <a:pt x="220980" y="403860"/>
                </a:cubicBezTo>
                <a:cubicBezTo>
                  <a:pt x="225076" y="401812"/>
                  <a:pt x="228123" y="397848"/>
                  <a:pt x="232410" y="396240"/>
                </a:cubicBezTo>
                <a:cubicBezTo>
                  <a:pt x="245007" y="391516"/>
                  <a:pt x="288785" y="389037"/>
                  <a:pt x="293370" y="388620"/>
                </a:cubicBezTo>
                <a:cubicBezTo>
                  <a:pt x="348457" y="374848"/>
                  <a:pt x="320385" y="380404"/>
                  <a:pt x="438150" y="388620"/>
                </a:cubicBezTo>
                <a:cubicBezTo>
                  <a:pt x="449830" y="389435"/>
                  <a:pt x="460861" y="394503"/>
                  <a:pt x="472440" y="396240"/>
                </a:cubicBezTo>
                <a:cubicBezTo>
                  <a:pt x="486312" y="398321"/>
                  <a:pt x="500392" y="398654"/>
                  <a:pt x="514350" y="400050"/>
                </a:cubicBezTo>
                <a:cubicBezTo>
                  <a:pt x="525793" y="401194"/>
                  <a:pt x="537210" y="402590"/>
                  <a:pt x="548640" y="403860"/>
                </a:cubicBezTo>
                <a:cubicBezTo>
                  <a:pt x="638793" y="399352"/>
                  <a:pt x="599408" y="400050"/>
                  <a:pt x="666750" y="400050"/>
                </a:cubicBezTo>
                <a:lnTo>
                  <a:pt x="1497330" y="403860"/>
                </a:lnTo>
                <a:lnTo>
                  <a:pt x="2164080" y="327660"/>
                </a:lnTo>
                <a:lnTo>
                  <a:pt x="2617470" y="274320"/>
                </a:lnTo>
                <a:lnTo>
                  <a:pt x="2613660" y="224790"/>
                </a:lnTo>
                <a:lnTo>
                  <a:pt x="2526030" y="95250"/>
                </a:lnTo>
                <a:lnTo>
                  <a:pt x="2529840" y="53340"/>
                </a:lnTo>
                <a:cubicBezTo>
                  <a:pt x="2600960" y="56727"/>
                  <a:pt x="2597348" y="35044"/>
                  <a:pt x="2617470" y="68580"/>
                </a:cubicBezTo>
                <a:cubicBezTo>
                  <a:pt x="2618931" y="71015"/>
                  <a:pt x="2620010" y="73660"/>
                  <a:pt x="2621280" y="76200"/>
                </a:cubicBezTo>
                <a:lnTo>
                  <a:pt x="2739390" y="163830"/>
                </a:lnTo>
                <a:lnTo>
                  <a:pt x="2979420" y="140970"/>
                </a:lnTo>
                <a:lnTo>
                  <a:pt x="3181350" y="0"/>
                </a:lnTo>
                <a:lnTo>
                  <a:pt x="3219450" y="0"/>
                </a:lnTo>
                <a:cubicBezTo>
                  <a:pt x="3229610" y="3810"/>
                  <a:pt x="3241365" y="4768"/>
                  <a:pt x="3249930" y="11430"/>
                </a:cubicBezTo>
                <a:cubicBezTo>
                  <a:pt x="3254063" y="14645"/>
                  <a:pt x="3252235" y="21654"/>
                  <a:pt x="3253740" y="26670"/>
                </a:cubicBezTo>
                <a:cubicBezTo>
                  <a:pt x="3256048" y="34363"/>
                  <a:pt x="3261360" y="49530"/>
                  <a:pt x="3261360" y="49530"/>
                </a:cubicBezTo>
                <a:cubicBezTo>
                  <a:pt x="3258242" y="71356"/>
                  <a:pt x="3261492" y="80864"/>
                  <a:pt x="3242310" y="95250"/>
                </a:cubicBezTo>
                <a:cubicBezTo>
                  <a:pt x="3238121" y="98392"/>
                  <a:pt x="3232105" y="97621"/>
                  <a:pt x="3227070" y="99060"/>
                </a:cubicBezTo>
                <a:cubicBezTo>
                  <a:pt x="3223208" y="100163"/>
                  <a:pt x="3215640" y="102870"/>
                  <a:pt x="3215640" y="102870"/>
                </a:cubicBezTo>
                <a:lnTo>
                  <a:pt x="3070860" y="190500"/>
                </a:lnTo>
                <a:lnTo>
                  <a:pt x="3352800" y="480060"/>
                </a:lnTo>
                <a:lnTo>
                  <a:pt x="3467100" y="598170"/>
                </a:lnTo>
                <a:lnTo>
                  <a:pt x="3436620" y="742950"/>
                </a:lnTo>
                <a:lnTo>
                  <a:pt x="3360420" y="777240"/>
                </a:lnTo>
                <a:lnTo>
                  <a:pt x="3158490" y="784860"/>
                </a:lnTo>
                <a:lnTo>
                  <a:pt x="2929890" y="872490"/>
                </a:lnTo>
                <a:lnTo>
                  <a:pt x="2800350" y="941070"/>
                </a:lnTo>
                <a:lnTo>
                  <a:pt x="2632710" y="1238250"/>
                </a:lnTo>
                <a:lnTo>
                  <a:pt x="2529840" y="1447800"/>
                </a:lnTo>
                <a:lnTo>
                  <a:pt x="2491740" y="1489710"/>
                </a:lnTo>
                <a:cubicBezTo>
                  <a:pt x="2481580" y="1494790"/>
                  <a:pt x="2471862" y="1500872"/>
                  <a:pt x="2461260" y="1504950"/>
                </a:cubicBezTo>
                <a:cubicBezTo>
                  <a:pt x="2455216" y="1507275"/>
                  <a:pt x="2448458" y="1507056"/>
                  <a:pt x="2442210" y="1508760"/>
                </a:cubicBezTo>
                <a:cubicBezTo>
                  <a:pt x="2434461" y="1510873"/>
                  <a:pt x="2427142" y="1514432"/>
                  <a:pt x="2419350" y="1516380"/>
                </a:cubicBezTo>
                <a:lnTo>
                  <a:pt x="2404110" y="1520190"/>
                </a:lnTo>
                <a:cubicBezTo>
                  <a:pt x="2396490" y="1525270"/>
                  <a:pt x="2388976" y="1530513"/>
                  <a:pt x="2381250" y="1535430"/>
                </a:cubicBezTo>
                <a:cubicBezTo>
                  <a:pt x="2330702" y="1567597"/>
                  <a:pt x="2385411" y="1531386"/>
                  <a:pt x="2350770" y="1554480"/>
                </a:cubicBezTo>
                <a:cubicBezTo>
                  <a:pt x="2343320" y="1565655"/>
                  <a:pt x="2342495" y="1564721"/>
                  <a:pt x="2339340" y="1577340"/>
                </a:cubicBezTo>
                <a:cubicBezTo>
                  <a:pt x="2339032" y="1578572"/>
                  <a:pt x="2339340" y="1579880"/>
                  <a:pt x="2339340" y="1581150"/>
                </a:cubicBezTo>
                <a:lnTo>
                  <a:pt x="2305050" y="1824990"/>
                </a:lnTo>
                <a:lnTo>
                  <a:pt x="2297430" y="1985010"/>
                </a:lnTo>
                <a:lnTo>
                  <a:pt x="2449830" y="2270760"/>
                </a:lnTo>
                <a:lnTo>
                  <a:pt x="2506980" y="2316480"/>
                </a:lnTo>
                <a:lnTo>
                  <a:pt x="2484120" y="2354580"/>
                </a:lnTo>
                <a:lnTo>
                  <a:pt x="2297430" y="2362200"/>
                </a:lnTo>
                <a:lnTo>
                  <a:pt x="2129790" y="1855470"/>
                </a:lnTo>
                <a:lnTo>
                  <a:pt x="2065020" y="1805940"/>
                </a:lnTo>
                <a:lnTo>
                  <a:pt x="2080260" y="2129790"/>
                </a:lnTo>
                <a:lnTo>
                  <a:pt x="2190750" y="2289810"/>
                </a:lnTo>
                <a:lnTo>
                  <a:pt x="2171700" y="2301240"/>
                </a:lnTo>
                <a:lnTo>
                  <a:pt x="1962150" y="2320290"/>
                </a:lnTo>
                <a:lnTo>
                  <a:pt x="1924050" y="2198370"/>
                </a:lnTo>
                <a:lnTo>
                  <a:pt x="1836420" y="1642110"/>
                </a:lnTo>
                <a:lnTo>
                  <a:pt x="1741170" y="1539240"/>
                </a:lnTo>
                <a:lnTo>
                  <a:pt x="1367790" y="1562100"/>
                </a:lnTo>
                <a:lnTo>
                  <a:pt x="1162050" y="1584960"/>
                </a:lnTo>
                <a:lnTo>
                  <a:pt x="1089660" y="1680210"/>
                </a:lnTo>
                <a:cubicBezTo>
                  <a:pt x="1078380" y="1683970"/>
                  <a:pt x="1051515" y="1694500"/>
                  <a:pt x="1036320" y="1695450"/>
                </a:cubicBezTo>
                <a:cubicBezTo>
                  <a:pt x="1022377" y="1696321"/>
                  <a:pt x="1008380" y="1695450"/>
                  <a:pt x="994410" y="1695450"/>
                </a:cubicBezTo>
                <a:lnTo>
                  <a:pt x="975360" y="1813560"/>
                </a:lnTo>
                <a:cubicBezTo>
                  <a:pt x="963930" y="1812290"/>
                  <a:pt x="952414" y="1811641"/>
                  <a:pt x="941070" y="1809750"/>
                </a:cubicBezTo>
                <a:cubicBezTo>
                  <a:pt x="937109" y="1809090"/>
                  <a:pt x="932480" y="1808780"/>
                  <a:pt x="929640" y="1805940"/>
                </a:cubicBezTo>
                <a:cubicBezTo>
                  <a:pt x="925428" y="1801728"/>
                  <a:pt x="925830" y="1795862"/>
                  <a:pt x="925830" y="1790700"/>
                </a:cubicBezTo>
                <a:lnTo>
                  <a:pt x="906780" y="1703070"/>
                </a:lnTo>
                <a:lnTo>
                  <a:pt x="876300" y="1703070"/>
                </a:lnTo>
                <a:lnTo>
                  <a:pt x="857250" y="1802130"/>
                </a:lnTo>
                <a:cubicBezTo>
                  <a:pt x="854710" y="1813560"/>
                  <a:pt x="855767" y="1826448"/>
                  <a:pt x="849630" y="1836420"/>
                </a:cubicBezTo>
                <a:cubicBezTo>
                  <a:pt x="844830" y="1844220"/>
                  <a:pt x="826770" y="1851660"/>
                  <a:pt x="826770" y="1851660"/>
                </a:cubicBezTo>
                <a:cubicBezTo>
                  <a:pt x="821690" y="1850390"/>
                  <a:pt x="815619" y="1851121"/>
                  <a:pt x="811530" y="1847850"/>
                </a:cubicBezTo>
                <a:cubicBezTo>
                  <a:pt x="808394" y="1845341"/>
                  <a:pt x="809786" y="1839864"/>
                  <a:pt x="807720" y="1836420"/>
                </a:cubicBezTo>
                <a:cubicBezTo>
                  <a:pt x="805872" y="1833340"/>
                  <a:pt x="802640" y="1831340"/>
                  <a:pt x="800100" y="1828800"/>
                </a:cubicBezTo>
                <a:lnTo>
                  <a:pt x="773430" y="1710690"/>
                </a:lnTo>
                <a:lnTo>
                  <a:pt x="693420" y="1718310"/>
                </a:lnTo>
                <a:lnTo>
                  <a:pt x="659130" y="1798320"/>
                </a:lnTo>
                <a:cubicBezTo>
                  <a:pt x="660400" y="1835150"/>
                  <a:pt x="681355" y="1877060"/>
                  <a:pt x="701040" y="1939290"/>
                </a:cubicBezTo>
                <a:cubicBezTo>
                  <a:pt x="720725" y="2001520"/>
                  <a:pt x="751840" y="2094230"/>
                  <a:pt x="777240" y="2171700"/>
                </a:cubicBezTo>
                <a:lnTo>
                  <a:pt x="963930" y="2270760"/>
                </a:lnTo>
                <a:lnTo>
                  <a:pt x="944880" y="2320290"/>
                </a:lnTo>
                <a:lnTo>
                  <a:pt x="720090" y="2324100"/>
                </a:lnTo>
                <a:lnTo>
                  <a:pt x="613410" y="2202180"/>
                </a:lnTo>
                <a:lnTo>
                  <a:pt x="434340" y="1687830"/>
                </a:lnTo>
                <a:lnTo>
                  <a:pt x="392430" y="1691640"/>
                </a:lnTo>
                <a:lnTo>
                  <a:pt x="316230" y="2042160"/>
                </a:lnTo>
                <a:lnTo>
                  <a:pt x="388620" y="2266950"/>
                </a:lnTo>
                <a:cubicBezTo>
                  <a:pt x="401320" y="2269490"/>
                  <a:pt x="414341" y="2270761"/>
                  <a:pt x="426720" y="2274570"/>
                </a:cubicBezTo>
                <a:cubicBezTo>
                  <a:pt x="438850" y="2278302"/>
                  <a:pt x="438720" y="2284808"/>
                  <a:pt x="445770" y="2293620"/>
                </a:cubicBezTo>
                <a:cubicBezTo>
                  <a:pt x="448014" y="2296425"/>
                  <a:pt x="450850" y="2298700"/>
                  <a:pt x="453390" y="2301240"/>
                </a:cubicBezTo>
                <a:lnTo>
                  <a:pt x="464820" y="2335530"/>
                </a:lnTo>
                <a:lnTo>
                  <a:pt x="209550" y="2358390"/>
                </a:lnTo>
                <a:lnTo>
                  <a:pt x="144780" y="1767840"/>
                </a:lnTo>
                <a:lnTo>
                  <a:pt x="125730" y="1592580"/>
                </a:lnTo>
                <a:lnTo>
                  <a:pt x="182880" y="1310640"/>
                </a:lnTo>
                <a:lnTo>
                  <a:pt x="118110" y="933450"/>
                </a:lnTo>
                <a:lnTo>
                  <a:pt x="102870" y="929640"/>
                </a:lnTo>
                <a:lnTo>
                  <a:pt x="102870" y="1002030"/>
                </a:lnTo>
                <a:lnTo>
                  <a:pt x="110490" y="1181100"/>
                </a:lnTo>
                <a:lnTo>
                  <a:pt x="95250" y="1322070"/>
                </a:lnTo>
                <a:cubicBezTo>
                  <a:pt x="91440" y="1334770"/>
                  <a:pt x="88013" y="1347591"/>
                  <a:pt x="83820" y="1360170"/>
                </a:cubicBezTo>
                <a:cubicBezTo>
                  <a:pt x="81657" y="1366658"/>
                  <a:pt x="80578" y="1373966"/>
                  <a:pt x="76200" y="1379220"/>
                </a:cubicBezTo>
                <a:cubicBezTo>
                  <a:pt x="73629" y="1382305"/>
                  <a:pt x="68362" y="1381234"/>
                  <a:pt x="64770" y="1383030"/>
                </a:cubicBezTo>
                <a:cubicBezTo>
                  <a:pt x="60674" y="1385078"/>
                  <a:pt x="57524" y="1388790"/>
                  <a:pt x="53340" y="1390650"/>
                </a:cubicBezTo>
                <a:cubicBezTo>
                  <a:pt x="28966" y="1401483"/>
                  <a:pt x="28235" y="1398270"/>
                  <a:pt x="0" y="1398270"/>
                </a:cubicBezTo>
                <a:lnTo>
                  <a:pt x="0" y="1215390"/>
                </a:lnTo>
                <a:lnTo>
                  <a:pt x="38100" y="933450"/>
                </a:lnTo>
                <a:lnTo>
                  <a:pt x="72390" y="601980"/>
                </a:lnTo>
                <a:lnTo>
                  <a:pt x="91440" y="53721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2920" tIns="52920" rIns="52920" bIns="52920" rtlCol="0" anchor="ctr"/>
          <a:lstStyle/>
          <a:p>
            <a:pPr algn="ctr">
              <a:defRPr/>
            </a:pPr>
            <a:endParaRPr lang="en-US" sz="1000">
              <a:solidFill>
                <a:prstClr val="white"/>
              </a:solidFill>
            </a:endParaRPr>
          </a:p>
        </p:txBody>
      </p:sp>
      <p:grpSp>
        <p:nvGrpSpPr>
          <p:cNvPr id="1870556580" name="Group 159"/>
          <p:cNvGrpSpPr>
            <a:grpSpLocks noChangeAspect="1"/>
          </p:cNvGrpSpPr>
          <p:nvPr/>
        </p:nvGrpSpPr>
        <p:grpSpPr bwMode="auto">
          <a:xfrm>
            <a:off x="772830" y="2732865"/>
            <a:ext cx="269982" cy="303899"/>
            <a:chOff x="2263" y="937"/>
            <a:chExt cx="405" cy="456"/>
          </a:xfrm>
          <a:solidFill>
            <a:srgbClr val="000000"/>
          </a:solidFill>
        </p:grpSpPr>
        <p:sp>
          <p:nvSpPr>
            <p:cNvPr id="1003758069" name="Freeform 160"/>
            <p:cNvSpPr>
              <a:spLocks noEditPoints="1"/>
            </p:cNvSpPr>
            <p:nvPr/>
          </p:nvSpPr>
          <p:spPr bwMode="auto">
            <a:xfrm>
              <a:off x="2263" y="997"/>
              <a:ext cx="405" cy="396"/>
            </a:xfrm>
            <a:custGeom>
              <a:avLst/>
              <a:gdLst>
                <a:gd name="T0" fmla="*/ 93 w 169"/>
                <a:gd name="T1" fmla="*/ 165 h 165"/>
                <a:gd name="T2" fmla="*/ 75 w 169"/>
                <a:gd name="T3" fmla="*/ 165 h 165"/>
                <a:gd name="T4" fmla="*/ 72 w 169"/>
                <a:gd name="T5" fmla="*/ 164 h 165"/>
                <a:gd name="T6" fmla="*/ 2 w 169"/>
                <a:gd name="T7" fmla="*/ 90 h 165"/>
                <a:gd name="T8" fmla="*/ 35 w 169"/>
                <a:gd name="T9" fmla="*/ 18 h 165"/>
                <a:gd name="T10" fmla="*/ 89 w 169"/>
                <a:gd name="T11" fmla="*/ 2 h 165"/>
                <a:gd name="T12" fmla="*/ 78 w 169"/>
                <a:gd name="T13" fmla="*/ 27 h 165"/>
                <a:gd name="T14" fmla="*/ 96 w 169"/>
                <a:gd name="T15" fmla="*/ 30 h 165"/>
                <a:gd name="T16" fmla="*/ 136 w 169"/>
                <a:gd name="T17" fmla="*/ 27 h 165"/>
                <a:gd name="T18" fmla="*/ 146 w 169"/>
                <a:gd name="T19" fmla="*/ 29 h 165"/>
                <a:gd name="T20" fmla="*/ 165 w 169"/>
                <a:gd name="T21" fmla="*/ 99 h 165"/>
                <a:gd name="T22" fmla="*/ 141 w 169"/>
                <a:gd name="T23" fmla="*/ 141 h 165"/>
                <a:gd name="T24" fmla="*/ 142 w 169"/>
                <a:gd name="T25" fmla="*/ 138 h 165"/>
                <a:gd name="T26" fmla="*/ 150 w 169"/>
                <a:gd name="T27" fmla="*/ 92 h 165"/>
                <a:gd name="T28" fmla="*/ 95 w 169"/>
                <a:gd name="T29" fmla="*/ 44 h 165"/>
                <a:gd name="T30" fmla="*/ 66 w 169"/>
                <a:gd name="T31" fmla="*/ 27 h 165"/>
                <a:gd name="T32" fmla="*/ 61 w 169"/>
                <a:gd name="T33" fmla="*/ 24 h 165"/>
                <a:gd name="T34" fmla="*/ 59 w 169"/>
                <a:gd name="T35" fmla="*/ 30 h 165"/>
                <a:gd name="T36" fmla="*/ 60 w 169"/>
                <a:gd name="T37" fmla="*/ 33 h 165"/>
                <a:gd name="T38" fmla="*/ 90 w 169"/>
                <a:gd name="T39" fmla="*/ 51 h 165"/>
                <a:gd name="T40" fmla="*/ 128 w 169"/>
                <a:gd name="T41" fmla="*/ 64 h 165"/>
                <a:gd name="T42" fmla="*/ 142 w 169"/>
                <a:gd name="T43" fmla="*/ 116 h 165"/>
                <a:gd name="T44" fmla="*/ 128 w 169"/>
                <a:gd name="T45" fmla="*/ 148 h 165"/>
                <a:gd name="T46" fmla="*/ 116 w 169"/>
                <a:gd name="T47" fmla="*/ 159 h 165"/>
                <a:gd name="T48" fmla="*/ 93 w 169"/>
                <a:gd name="T49" fmla="*/ 165 h 165"/>
                <a:gd name="T50" fmla="*/ 29 w 169"/>
                <a:gd name="T51" fmla="*/ 65 h 165"/>
                <a:gd name="T52" fmla="*/ 25 w 169"/>
                <a:gd name="T53" fmla="*/ 61 h 165"/>
                <a:gd name="T54" fmla="*/ 21 w 169"/>
                <a:gd name="T55" fmla="*/ 65 h 165"/>
                <a:gd name="T56" fmla="*/ 22 w 169"/>
                <a:gd name="T57" fmla="*/ 103 h 165"/>
                <a:gd name="T58" fmla="*/ 27 w 169"/>
                <a:gd name="T59" fmla="*/ 107 h 165"/>
                <a:gd name="T60" fmla="*/ 29 w 169"/>
                <a:gd name="T61" fmla="*/ 101 h 165"/>
                <a:gd name="T62" fmla="*/ 29 w 169"/>
                <a:gd name="T63" fmla="*/ 65 h 165"/>
                <a:gd name="T64" fmla="*/ 29 w 169"/>
                <a:gd name="T65" fmla="*/ 56 h 165"/>
                <a:gd name="T66" fmla="*/ 33 w 169"/>
                <a:gd name="T67" fmla="*/ 54 h 165"/>
                <a:gd name="T68" fmla="*/ 42 w 169"/>
                <a:gd name="T69" fmla="*/ 42 h 165"/>
                <a:gd name="T70" fmla="*/ 41 w 169"/>
                <a:gd name="T71" fmla="*/ 38 h 165"/>
                <a:gd name="T72" fmla="*/ 36 w 169"/>
                <a:gd name="T73" fmla="*/ 38 h 165"/>
                <a:gd name="T74" fmla="*/ 28 w 169"/>
                <a:gd name="T75" fmla="*/ 50 h 165"/>
                <a:gd name="T76" fmla="*/ 29 w 169"/>
                <a:gd name="T77" fmla="*/ 56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69" h="165" extrusionOk="0">
                  <a:moveTo>
                    <a:pt x="93" y="165"/>
                  </a:moveTo>
                  <a:cubicBezTo>
                    <a:pt x="87" y="165"/>
                    <a:pt x="81" y="165"/>
                    <a:pt x="75" y="165"/>
                  </a:cubicBezTo>
                  <a:cubicBezTo>
                    <a:pt x="74" y="165"/>
                    <a:pt x="73" y="164"/>
                    <a:pt x="72" y="164"/>
                  </a:cubicBezTo>
                  <a:cubicBezTo>
                    <a:pt x="35" y="159"/>
                    <a:pt x="5" y="129"/>
                    <a:pt x="2" y="90"/>
                  </a:cubicBezTo>
                  <a:cubicBezTo>
                    <a:pt x="0" y="60"/>
                    <a:pt x="11" y="36"/>
                    <a:pt x="35" y="18"/>
                  </a:cubicBezTo>
                  <a:cubicBezTo>
                    <a:pt x="51" y="6"/>
                    <a:pt x="68" y="0"/>
                    <a:pt x="89" y="2"/>
                  </a:cubicBezTo>
                  <a:cubicBezTo>
                    <a:pt x="85" y="10"/>
                    <a:pt x="82" y="18"/>
                    <a:pt x="78" y="27"/>
                  </a:cubicBezTo>
                  <a:cubicBezTo>
                    <a:pt x="85" y="28"/>
                    <a:pt x="90" y="29"/>
                    <a:pt x="96" y="30"/>
                  </a:cubicBezTo>
                  <a:cubicBezTo>
                    <a:pt x="110" y="32"/>
                    <a:pt x="123" y="33"/>
                    <a:pt x="136" y="27"/>
                  </a:cubicBezTo>
                  <a:cubicBezTo>
                    <a:pt x="141" y="24"/>
                    <a:pt x="143" y="25"/>
                    <a:pt x="146" y="29"/>
                  </a:cubicBezTo>
                  <a:cubicBezTo>
                    <a:pt x="163" y="49"/>
                    <a:pt x="169" y="72"/>
                    <a:pt x="165" y="99"/>
                  </a:cubicBezTo>
                  <a:cubicBezTo>
                    <a:pt x="162" y="115"/>
                    <a:pt x="154" y="130"/>
                    <a:pt x="141" y="141"/>
                  </a:cubicBezTo>
                  <a:cubicBezTo>
                    <a:pt x="141" y="140"/>
                    <a:pt x="141" y="139"/>
                    <a:pt x="142" y="138"/>
                  </a:cubicBezTo>
                  <a:cubicBezTo>
                    <a:pt x="149" y="123"/>
                    <a:pt x="152" y="108"/>
                    <a:pt x="150" y="92"/>
                  </a:cubicBezTo>
                  <a:cubicBezTo>
                    <a:pt x="145" y="62"/>
                    <a:pt x="126" y="45"/>
                    <a:pt x="95" y="44"/>
                  </a:cubicBezTo>
                  <a:cubicBezTo>
                    <a:pt x="82" y="43"/>
                    <a:pt x="71" y="42"/>
                    <a:pt x="66" y="27"/>
                  </a:cubicBezTo>
                  <a:cubicBezTo>
                    <a:pt x="65" y="26"/>
                    <a:pt x="63" y="25"/>
                    <a:pt x="61" y="24"/>
                  </a:cubicBezTo>
                  <a:cubicBezTo>
                    <a:pt x="61" y="26"/>
                    <a:pt x="60" y="28"/>
                    <a:pt x="59" y="30"/>
                  </a:cubicBezTo>
                  <a:cubicBezTo>
                    <a:pt x="59" y="31"/>
                    <a:pt x="60" y="32"/>
                    <a:pt x="60" y="33"/>
                  </a:cubicBezTo>
                  <a:cubicBezTo>
                    <a:pt x="66" y="46"/>
                    <a:pt x="76" y="51"/>
                    <a:pt x="90" y="51"/>
                  </a:cubicBezTo>
                  <a:cubicBezTo>
                    <a:pt x="104" y="51"/>
                    <a:pt x="118" y="53"/>
                    <a:pt x="128" y="64"/>
                  </a:cubicBezTo>
                  <a:cubicBezTo>
                    <a:pt x="143" y="78"/>
                    <a:pt x="146" y="97"/>
                    <a:pt x="142" y="116"/>
                  </a:cubicBezTo>
                  <a:cubicBezTo>
                    <a:pt x="139" y="127"/>
                    <a:pt x="132" y="137"/>
                    <a:pt x="128" y="148"/>
                  </a:cubicBezTo>
                  <a:cubicBezTo>
                    <a:pt x="126" y="154"/>
                    <a:pt x="121" y="157"/>
                    <a:pt x="116" y="159"/>
                  </a:cubicBezTo>
                  <a:cubicBezTo>
                    <a:pt x="108" y="161"/>
                    <a:pt x="101" y="163"/>
                    <a:pt x="93" y="165"/>
                  </a:cubicBezTo>
                  <a:close/>
                  <a:moveTo>
                    <a:pt x="29" y="65"/>
                  </a:moveTo>
                  <a:cubicBezTo>
                    <a:pt x="29" y="63"/>
                    <a:pt x="27" y="61"/>
                    <a:pt x="25" y="61"/>
                  </a:cubicBezTo>
                  <a:cubicBezTo>
                    <a:pt x="24" y="61"/>
                    <a:pt x="22" y="63"/>
                    <a:pt x="21" y="65"/>
                  </a:cubicBezTo>
                  <a:cubicBezTo>
                    <a:pt x="17" y="78"/>
                    <a:pt x="18" y="90"/>
                    <a:pt x="22" y="103"/>
                  </a:cubicBezTo>
                  <a:cubicBezTo>
                    <a:pt x="23" y="105"/>
                    <a:pt x="25" y="107"/>
                    <a:pt x="27" y="107"/>
                  </a:cubicBezTo>
                  <a:cubicBezTo>
                    <a:pt x="29" y="106"/>
                    <a:pt x="29" y="103"/>
                    <a:pt x="29" y="101"/>
                  </a:cubicBezTo>
                  <a:cubicBezTo>
                    <a:pt x="29" y="97"/>
                    <a:pt x="23" y="88"/>
                    <a:pt x="29" y="65"/>
                  </a:cubicBezTo>
                  <a:close/>
                  <a:moveTo>
                    <a:pt x="29" y="56"/>
                  </a:moveTo>
                  <a:cubicBezTo>
                    <a:pt x="31" y="57"/>
                    <a:pt x="33" y="55"/>
                    <a:pt x="33" y="54"/>
                  </a:cubicBezTo>
                  <a:cubicBezTo>
                    <a:pt x="36" y="50"/>
                    <a:pt x="39" y="46"/>
                    <a:pt x="42" y="42"/>
                  </a:cubicBezTo>
                  <a:cubicBezTo>
                    <a:pt x="43" y="41"/>
                    <a:pt x="42" y="38"/>
                    <a:pt x="41" y="38"/>
                  </a:cubicBezTo>
                  <a:cubicBezTo>
                    <a:pt x="39" y="37"/>
                    <a:pt x="37" y="37"/>
                    <a:pt x="36" y="38"/>
                  </a:cubicBezTo>
                  <a:cubicBezTo>
                    <a:pt x="33" y="42"/>
                    <a:pt x="30" y="46"/>
                    <a:pt x="28" y="50"/>
                  </a:cubicBezTo>
                  <a:cubicBezTo>
                    <a:pt x="27" y="51"/>
                    <a:pt x="27" y="55"/>
                    <a:pt x="29" y="5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65217878" name="Freeform 161"/>
            <p:cNvSpPr/>
            <p:nvPr/>
          </p:nvSpPr>
          <p:spPr bwMode="auto">
            <a:xfrm>
              <a:off x="2484" y="937"/>
              <a:ext cx="171" cy="129"/>
            </a:xfrm>
            <a:custGeom>
              <a:avLst/>
              <a:gdLst>
                <a:gd name="T0" fmla="*/ 53 w 71"/>
                <a:gd name="T1" fmla="*/ 0 h 54"/>
                <a:gd name="T2" fmla="*/ 71 w 71"/>
                <a:gd name="T3" fmla="*/ 4 h 54"/>
                <a:gd name="T4" fmla="*/ 5 w 71"/>
                <a:gd name="T5" fmla="*/ 46 h 54"/>
                <a:gd name="T6" fmla="*/ 37 w 71"/>
                <a:gd name="T7" fmla="*/ 27 h 54"/>
                <a:gd name="T8" fmla="*/ 44 w 71"/>
                <a:gd name="T9" fmla="*/ 18 h 54"/>
                <a:gd name="T10" fmla="*/ 33 w 71"/>
                <a:gd name="T11" fmla="*/ 21 h 54"/>
                <a:gd name="T12" fmla="*/ 0 w 71"/>
                <a:gd name="T13" fmla="*/ 41 h 54"/>
                <a:gd name="T14" fmla="*/ 37 w 71"/>
                <a:gd name="T15" fmla="*/ 1 h 54"/>
                <a:gd name="T16" fmla="*/ 39 w 71"/>
                <a:gd name="T17" fmla="*/ 0 h 54"/>
                <a:gd name="T18" fmla="*/ 53 w 71"/>
                <a:gd name="T1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" h="54" extrusionOk="0">
                  <a:moveTo>
                    <a:pt x="53" y="0"/>
                  </a:moveTo>
                  <a:cubicBezTo>
                    <a:pt x="59" y="1"/>
                    <a:pt x="65" y="2"/>
                    <a:pt x="71" y="4"/>
                  </a:cubicBezTo>
                  <a:cubicBezTo>
                    <a:pt x="59" y="44"/>
                    <a:pt x="34" y="54"/>
                    <a:pt x="5" y="46"/>
                  </a:cubicBezTo>
                  <a:cubicBezTo>
                    <a:pt x="16" y="39"/>
                    <a:pt x="27" y="33"/>
                    <a:pt x="37" y="27"/>
                  </a:cubicBezTo>
                  <a:cubicBezTo>
                    <a:pt x="40" y="25"/>
                    <a:pt x="47" y="24"/>
                    <a:pt x="44" y="18"/>
                  </a:cubicBezTo>
                  <a:cubicBezTo>
                    <a:pt x="40" y="13"/>
                    <a:pt x="36" y="19"/>
                    <a:pt x="33" y="21"/>
                  </a:cubicBezTo>
                  <a:cubicBezTo>
                    <a:pt x="22" y="27"/>
                    <a:pt x="11" y="34"/>
                    <a:pt x="0" y="41"/>
                  </a:cubicBezTo>
                  <a:cubicBezTo>
                    <a:pt x="6" y="19"/>
                    <a:pt x="18" y="5"/>
                    <a:pt x="37" y="1"/>
                  </a:cubicBezTo>
                  <a:cubicBezTo>
                    <a:pt x="38" y="1"/>
                    <a:pt x="38" y="0"/>
                    <a:pt x="39" y="0"/>
                  </a:cubicBezTo>
                  <a:cubicBezTo>
                    <a:pt x="44" y="0"/>
                    <a:pt x="49" y="0"/>
                    <a:pt x="5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</p:grpSp>
      <p:pic>
        <p:nvPicPr>
          <p:cNvPr id="1231640629" name="Рисунок 95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</a:blip>
          <a:stretch/>
        </p:blipFill>
        <p:spPr bwMode="auto">
          <a:xfrm>
            <a:off x="662121" y="3143340"/>
            <a:ext cx="491400" cy="353961"/>
          </a:xfrm>
          <a:prstGeom prst="rect">
            <a:avLst/>
          </a:prstGeom>
        </p:spPr>
      </p:pic>
      <p:graphicFrame>
        <p:nvGraphicFramePr>
          <p:cNvPr id="39416103" name="Таблица 99"/>
          <p:cNvGraphicFramePr>
            <a:graphicFrameLocks/>
          </p:cNvGraphicFramePr>
          <p:nvPr/>
        </p:nvGraphicFramePr>
        <p:xfrm>
          <a:off x="9422103" y="1742707"/>
          <a:ext cx="2070627" cy="179841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54638"/>
                <a:gridCol w="1615989"/>
              </a:tblGrid>
              <a:tr h="675279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100" b="0" u="none" strike="noStrike">
                          <a:solidFill>
                            <a:srgbClr val="000000"/>
                          </a:solidFill>
                          <a:latin typeface="Proxima Nova Rg"/>
                        </a:rPr>
                        <a:t>Экономика и организация</a:t>
                      </a:r>
                      <a:br>
                        <a:rPr lang="ru-RU" sz="1100" b="0" u="none" strike="noStrike">
                          <a:solidFill>
                            <a:srgbClr val="000000"/>
                          </a:solidFill>
                          <a:latin typeface="Proxima Nova Rg"/>
                        </a:rPr>
                      </a:br>
                      <a:r>
                        <a:rPr lang="ru-RU" sz="1100" b="0" u="none" strike="noStrike">
                          <a:solidFill>
                            <a:srgbClr val="000000"/>
                          </a:solidFill>
                          <a:latin typeface="Proxima Nova Rg"/>
                        </a:rPr>
                        <a:t>фермерского хозяйства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  <a:p>
                      <a:pPr marL="0" marR="0" lvl="0" indent="0" algn="l" defTabSz="91455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</a:tr>
              <a:tr h="357565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ru-RU" sz="1100" b="0" u="none" strike="noStrike">
                          <a:solidFill>
                            <a:srgbClr val="000000"/>
                          </a:solidFill>
                          <a:latin typeface="Proxima Nova Rg"/>
                        </a:rPr>
                        <a:t>Тепличное хозяйство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</a:tr>
              <a:tr h="406999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100" b="0" u="none" strike="noStrike">
                          <a:solidFill>
                            <a:srgbClr val="000000"/>
                          </a:solidFill>
                          <a:latin typeface="Proxima Nova Rg"/>
                        </a:rPr>
                        <a:t>Рыбоводство,</a:t>
                      </a:r>
                      <a:br>
                        <a:rPr lang="ru-RU" sz="1100" b="0" u="none" strike="noStrike">
                          <a:solidFill>
                            <a:srgbClr val="000000"/>
                          </a:solidFill>
                          <a:latin typeface="Proxima Nova Rg"/>
                        </a:rPr>
                      </a:br>
                      <a:r>
                        <a:rPr lang="ru-RU" sz="1100" b="0" u="none" strike="noStrike">
                          <a:solidFill>
                            <a:srgbClr val="000000"/>
                          </a:solidFill>
                          <a:latin typeface="Proxima Nova Rg"/>
                        </a:rPr>
                        <a:t>развитие аквакультуры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</a:tr>
              <a:tr h="357565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ru-RU" sz="1100" b="0" i="0" u="none" strike="noStrike">
                        <a:solidFill>
                          <a:srgbClr val="000000"/>
                        </a:solidFill>
                        <a:latin typeface="Proxima Nova Rg"/>
                      </a:endParaRPr>
                    </a:p>
                    <a:p>
                      <a:pPr marL="0" marR="0" lvl="0" indent="0" algn="l" defTabSz="91455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Proxima Nova Rg"/>
                        </a:rPr>
                        <a:t>Козоводство</a:t>
                      </a:r>
                      <a:endParaRPr/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</a:tr>
            </a:tbl>
          </a:graphicData>
        </a:graphic>
      </p:graphicFrame>
      <p:grpSp>
        <p:nvGrpSpPr>
          <p:cNvPr id="553809499" name="Group 30"/>
          <p:cNvGrpSpPr>
            <a:grpSpLocks noChangeAspect="1"/>
          </p:cNvGrpSpPr>
          <p:nvPr/>
        </p:nvGrpSpPr>
        <p:grpSpPr bwMode="auto">
          <a:xfrm>
            <a:off x="9494374" y="2787480"/>
            <a:ext cx="335784" cy="321798"/>
            <a:chOff x="2467" y="1972"/>
            <a:chExt cx="455" cy="436"/>
          </a:xfrm>
          <a:solidFill>
            <a:srgbClr val="000000"/>
          </a:solidFill>
        </p:grpSpPr>
        <p:sp>
          <p:nvSpPr>
            <p:cNvPr id="1965204353" name="Freeform 31"/>
            <p:cNvSpPr/>
            <p:nvPr/>
          </p:nvSpPr>
          <p:spPr bwMode="auto">
            <a:xfrm>
              <a:off x="2467" y="2021"/>
              <a:ext cx="360" cy="385"/>
            </a:xfrm>
            <a:custGeom>
              <a:avLst/>
              <a:gdLst>
                <a:gd name="T0" fmla="*/ 0 w 150"/>
                <a:gd name="T1" fmla="*/ 125 h 161"/>
                <a:gd name="T2" fmla="*/ 31 w 150"/>
                <a:gd name="T3" fmla="*/ 113 h 161"/>
                <a:gd name="T4" fmla="*/ 39 w 150"/>
                <a:gd name="T5" fmla="*/ 105 h 161"/>
                <a:gd name="T6" fmla="*/ 51 w 150"/>
                <a:gd name="T7" fmla="*/ 61 h 161"/>
                <a:gd name="T8" fmla="*/ 43 w 150"/>
                <a:gd name="T9" fmla="*/ 57 h 161"/>
                <a:gd name="T10" fmla="*/ 41 w 150"/>
                <a:gd name="T11" fmla="*/ 40 h 161"/>
                <a:gd name="T12" fmla="*/ 77 w 150"/>
                <a:gd name="T13" fmla="*/ 4 h 161"/>
                <a:gd name="T14" fmla="*/ 89 w 150"/>
                <a:gd name="T15" fmla="*/ 2 h 161"/>
                <a:gd name="T16" fmla="*/ 101 w 150"/>
                <a:gd name="T17" fmla="*/ 3 h 161"/>
                <a:gd name="T18" fmla="*/ 150 w 150"/>
                <a:gd name="T19" fmla="*/ 60 h 161"/>
                <a:gd name="T20" fmla="*/ 150 w 150"/>
                <a:gd name="T21" fmla="*/ 62 h 161"/>
                <a:gd name="T22" fmla="*/ 138 w 150"/>
                <a:gd name="T23" fmla="*/ 89 h 161"/>
                <a:gd name="T24" fmla="*/ 137 w 150"/>
                <a:gd name="T25" fmla="*/ 92 h 161"/>
                <a:gd name="T26" fmla="*/ 129 w 150"/>
                <a:gd name="T27" fmla="*/ 101 h 161"/>
                <a:gd name="T28" fmla="*/ 121 w 150"/>
                <a:gd name="T29" fmla="*/ 90 h 161"/>
                <a:gd name="T30" fmla="*/ 116 w 150"/>
                <a:gd name="T31" fmla="*/ 93 h 161"/>
                <a:gd name="T32" fmla="*/ 55 w 150"/>
                <a:gd name="T33" fmla="*/ 123 h 161"/>
                <a:gd name="T34" fmla="*/ 49 w 150"/>
                <a:gd name="T35" fmla="*/ 129 h 161"/>
                <a:gd name="T36" fmla="*/ 40 w 150"/>
                <a:gd name="T37" fmla="*/ 156 h 161"/>
                <a:gd name="T38" fmla="*/ 35 w 150"/>
                <a:gd name="T39" fmla="*/ 161 h 161"/>
                <a:gd name="T40" fmla="*/ 30 w 150"/>
                <a:gd name="T41" fmla="*/ 156 h 161"/>
                <a:gd name="T42" fmla="*/ 9 w 150"/>
                <a:gd name="T43" fmla="*/ 133 h 161"/>
                <a:gd name="T44" fmla="*/ 0 w 150"/>
                <a:gd name="T45" fmla="*/ 128 h 161"/>
                <a:gd name="T46" fmla="*/ 0 w 150"/>
                <a:gd name="T47" fmla="*/ 125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50" h="161" extrusionOk="0">
                  <a:moveTo>
                    <a:pt x="0" y="125"/>
                  </a:moveTo>
                  <a:cubicBezTo>
                    <a:pt x="10" y="121"/>
                    <a:pt x="21" y="117"/>
                    <a:pt x="31" y="113"/>
                  </a:cubicBezTo>
                  <a:cubicBezTo>
                    <a:pt x="36" y="112"/>
                    <a:pt x="38" y="110"/>
                    <a:pt x="39" y="105"/>
                  </a:cubicBezTo>
                  <a:cubicBezTo>
                    <a:pt x="43" y="90"/>
                    <a:pt x="47" y="76"/>
                    <a:pt x="51" y="61"/>
                  </a:cubicBezTo>
                  <a:cubicBezTo>
                    <a:pt x="49" y="60"/>
                    <a:pt x="46" y="58"/>
                    <a:pt x="43" y="57"/>
                  </a:cubicBezTo>
                  <a:cubicBezTo>
                    <a:pt x="37" y="53"/>
                    <a:pt x="35" y="45"/>
                    <a:pt x="41" y="40"/>
                  </a:cubicBezTo>
                  <a:cubicBezTo>
                    <a:pt x="52" y="28"/>
                    <a:pt x="64" y="16"/>
                    <a:pt x="77" y="4"/>
                  </a:cubicBezTo>
                  <a:cubicBezTo>
                    <a:pt x="80" y="0"/>
                    <a:pt x="84" y="0"/>
                    <a:pt x="89" y="2"/>
                  </a:cubicBezTo>
                  <a:cubicBezTo>
                    <a:pt x="92" y="3"/>
                    <a:pt x="96" y="3"/>
                    <a:pt x="101" y="3"/>
                  </a:cubicBezTo>
                  <a:cubicBezTo>
                    <a:pt x="105" y="31"/>
                    <a:pt x="121" y="51"/>
                    <a:pt x="150" y="60"/>
                  </a:cubicBezTo>
                  <a:cubicBezTo>
                    <a:pt x="150" y="61"/>
                    <a:pt x="150" y="62"/>
                    <a:pt x="150" y="62"/>
                  </a:cubicBezTo>
                  <a:cubicBezTo>
                    <a:pt x="142" y="69"/>
                    <a:pt x="137" y="77"/>
                    <a:pt x="138" y="89"/>
                  </a:cubicBezTo>
                  <a:cubicBezTo>
                    <a:pt x="138" y="90"/>
                    <a:pt x="138" y="92"/>
                    <a:pt x="137" y="92"/>
                  </a:cubicBezTo>
                  <a:cubicBezTo>
                    <a:pt x="135" y="95"/>
                    <a:pt x="132" y="98"/>
                    <a:pt x="129" y="101"/>
                  </a:cubicBezTo>
                  <a:cubicBezTo>
                    <a:pt x="127" y="98"/>
                    <a:pt x="122" y="91"/>
                    <a:pt x="121" y="90"/>
                  </a:cubicBezTo>
                  <a:cubicBezTo>
                    <a:pt x="119" y="91"/>
                    <a:pt x="117" y="92"/>
                    <a:pt x="116" y="93"/>
                  </a:cubicBezTo>
                  <a:cubicBezTo>
                    <a:pt x="97" y="106"/>
                    <a:pt x="77" y="117"/>
                    <a:pt x="55" y="123"/>
                  </a:cubicBezTo>
                  <a:cubicBezTo>
                    <a:pt x="53" y="123"/>
                    <a:pt x="50" y="126"/>
                    <a:pt x="49" y="129"/>
                  </a:cubicBezTo>
                  <a:cubicBezTo>
                    <a:pt x="46" y="138"/>
                    <a:pt x="43" y="147"/>
                    <a:pt x="40" y="156"/>
                  </a:cubicBezTo>
                  <a:cubicBezTo>
                    <a:pt x="39" y="158"/>
                    <a:pt x="37" y="160"/>
                    <a:pt x="35" y="161"/>
                  </a:cubicBezTo>
                  <a:cubicBezTo>
                    <a:pt x="34" y="160"/>
                    <a:pt x="32" y="158"/>
                    <a:pt x="30" y="156"/>
                  </a:cubicBezTo>
                  <a:cubicBezTo>
                    <a:pt x="30" y="155"/>
                    <a:pt x="20" y="137"/>
                    <a:pt x="9" y="133"/>
                  </a:cubicBezTo>
                  <a:cubicBezTo>
                    <a:pt x="6" y="132"/>
                    <a:pt x="2" y="129"/>
                    <a:pt x="0" y="128"/>
                  </a:cubicBezTo>
                  <a:cubicBezTo>
                    <a:pt x="0" y="127"/>
                    <a:pt x="0" y="126"/>
                    <a:pt x="0" y="1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49314608" name="Freeform 32"/>
            <p:cNvSpPr>
              <a:spLocks noEditPoints="1"/>
            </p:cNvSpPr>
            <p:nvPr/>
          </p:nvSpPr>
          <p:spPr bwMode="auto">
            <a:xfrm>
              <a:off x="2736" y="1972"/>
              <a:ext cx="186" cy="172"/>
            </a:xfrm>
            <a:custGeom>
              <a:avLst/>
              <a:gdLst>
                <a:gd name="T0" fmla="*/ 78 w 78"/>
                <a:gd name="T1" fmla="*/ 23 h 72"/>
                <a:gd name="T2" fmla="*/ 51 w 78"/>
                <a:gd name="T3" fmla="*/ 67 h 72"/>
                <a:gd name="T4" fmla="*/ 42 w 78"/>
                <a:gd name="T5" fmla="*/ 71 h 72"/>
                <a:gd name="T6" fmla="*/ 0 w 78"/>
                <a:gd name="T7" fmla="*/ 21 h 72"/>
                <a:gd name="T8" fmla="*/ 3 w 78"/>
                <a:gd name="T9" fmla="*/ 14 h 72"/>
                <a:gd name="T10" fmla="*/ 61 w 78"/>
                <a:gd name="T11" fmla="*/ 7 h 72"/>
                <a:gd name="T12" fmla="*/ 78 w 78"/>
                <a:gd name="T13" fmla="*/ 17 h 72"/>
                <a:gd name="T14" fmla="*/ 78 w 78"/>
                <a:gd name="T15" fmla="*/ 23 h 72"/>
                <a:gd name="T16" fmla="*/ 48 w 78"/>
                <a:gd name="T17" fmla="*/ 21 h 72"/>
                <a:gd name="T18" fmla="*/ 35 w 78"/>
                <a:gd name="T19" fmla="*/ 22 h 72"/>
                <a:gd name="T20" fmla="*/ 48 w 78"/>
                <a:gd name="T21" fmla="*/ 21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8" h="72" extrusionOk="0">
                  <a:moveTo>
                    <a:pt x="78" y="23"/>
                  </a:moveTo>
                  <a:cubicBezTo>
                    <a:pt x="72" y="39"/>
                    <a:pt x="62" y="54"/>
                    <a:pt x="51" y="67"/>
                  </a:cubicBezTo>
                  <a:cubicBezTo>
                    <a:pt x="49" y="71"/>
                    <a:pt x="46" y="72"/>
                    <a:pt x="42" y="71"/>
                  </a:cubicBezTo>
                  <a:cubicBezTo>
                    <a:pt x="19" y="65"/>
                    <a:pt x="1" y="44"/>
                    <a:pt x="0" y="21"/>
                  </a:cubicBezTo>
                  <a:cubicBezTo>
                    <a:pt x="0" y="18"/>
                    <a:pt x="1" y="14"/>
                    <a:pt x="3" y="14"/>
                  </a:cubicBezTo>
                  <a:cubicBezTo>
                    <a:pt x="21" y="5"/>
                    <a:pt x="41" y="0"/>
                    <a:pt x="61" y="7"/>
                  </a:cubicBezTo>
                  <a:cubicBezTo>
                    <a:pt x="67" y="9"/>
                    <a:pt x="72" y="14"/>
                    <a:pt x="78" y="17"/>
                  </a:cubicBezTo>
                  <a:cubicBezTo>
                    <a:pt x="78" y="19"/>
                    <a:pt x="78" y="21"/>
                    <a:pt x="78" y="23"/>
                  </a:cubicBezTo>
                  <a:close/>
                  <a:moveTo>
                    <a:pt x="48" y="21"/>
                  </a:moveTo>
                  <a:cubicBezTo>
                    <a:pt x="48" y="12"/>
                    <a:pt x="34" y="15"/>
                    <a:pt x="35" y="22"/>
                  </a:cubicBezTo>
                  <a:cubicBezTo>
                    <a:pt x="35" y="29"/>
                    <a:pt x="48" y="30"/>
                    <a:pt x="48" y="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</p:grpSp>
      <p:pic>
        <p:nvPicPr>
          <p:cNvPr id="2022028050" name="Рисунок 108"/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</a:blip>
          <a:stretch/>
        </p:blipFill>
        <p:spPr bwMode="auto">
          <a:xfrm>
            <a:off x="9495348" y="2288653"/>
            <a:ext cx="333833" cy="334728"/>
          </a:xfrm>
          <a:prstGeom prst="rect">
            <a:avLst/>
          </a:prstGeom>
        </p:spPr>
      </p:pic>
      <p:sp>
        <p:nvSpPr>
          <p:cNvPr id="897766620" name="Скругленный прямоугольник 5"/>
          <p:cNvSpPr/>
          <p:nvPr/>
        </p:nvSpPr>
        <p:spPr bwMode="auto">
          <a:xfrm>
            <a:off x="546105" y="4140381"/>
            <a:ext cx="5559763" cy="1791902"/>
          </a:xfrm>
          <a:prstGeom prst="roundRect">
            <a:avLst>
              <a:gd name="adj" fmla="val 7709"/>
            </a:avLst>
          </a:prstGeom>
          <a:noFill/>
          <a:ln>
            <a:solidFill>
              <a:srgbClr val="70BF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742751698" name="TextBox 98"/>
          <p:cNvSpPr txBox="1"/>
          <p:nvPr/>
        </p:nvSpPr>
        <p:spPr bwMode="auto">
          <a:xfrm>
            <a:off x="479586" y="4007126"/>
            <a:ext cx="3156396" cy="259439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ru-RU" sz="1100" b="1" u="sng">
                <a:solidFill>
                  <a:schemeClr val="accent2"/>
                </a:solidFill>
                <a:latin typeface="Arial"/>
                <a:cs typeface="Arial"/>
              </a:rPr>
              <a:t>Уникальные специализации для 2020-2024</a:t>
            </a:r>
          </a:p>
        </p:txBody>
      </p:sp>
      <p:pic>
        <p:nvPicPr>
          <p:cNvPr id="1796347936" name="Рисунок 42"/>
          <p:cNvPicPr>
            <a:picLocks noChangeAspect="1"/>
          </p:cNvPicPr>
          <p:nvPr/>
        </p:nvPicPr>
        <p:blipFill>
          <a:blip r:embed="rId8"/>
          <a:stretch/>
        </p:blipFill>
        <p:spPr bwMode="auto">
          <a:xfrm>
            <a:off x="6606635" y="4142599"/>
            <a:ext cx="2322249" cy="1732782"/>
          </a:xfrm>
          <a:prstGeom prst="rect">
            <a:avLst/>
          </a:prstGeom>
        </p:spPr>
      </p:pic>
      <p:pic>
        <p:nvPicPr>
          <p:cNvPr id="522123018" name="Рисунок 43"/>
          <p:cNvPicPr>
            <a:picLocks noChangeAspect="1"/>
          </p:cNvPicPr>
          <p:nvPr/>
        </p:nvPicPr>
        <p:blipFill>
          <a:blip r:embed="rId9"/>
          <a:srcRect r="11864" b="8537"/>
          <a:stretch/>
        </p:blipFill>
        <p:spPr bwMode="auto">
          <a:xfrm>
            <a:off x="9090509" y="4142599"/>
            <a:ext cx="2519042" cy="1732782"/>
          </a:xfrm>
          <a:prstGeom prst="rect">
            <a:avLst/>
          </a:prstGeom>
        </p:spPr>
      </p:pic>
      <p:grpSp>
        <p:nvGrpSpPr>
          <p:cNvPr id="7590182" name="Group 428"/>
          <p:cNvGrpSpPr/>
          <p:nvPr/>
        </p:nvGrpSpPr>
        <p:grpSpPr bwMode="auto">
          <a:xfrm>
            <a:off x="6281526" y="2279407"/>
            <a:ext cx="351650" cy="352386"/>
            <a:chOff x="1713228" y="6826567"/>
            <a:chExt cx="763587" cy="765174"/>
          </a:xfrm>
          <a:solidFill>
            <a:schemeClr val="tx1"/>
          </a:solidFill>
        </p:grpSpPr>
        <p:sp>
          <p:nvSpPr>
            <p:cNvPr id="2112194438" name="Freeform 56"/>
            <p:cNvSpPr>
              <a:spLocks noEditPoints="1"/>
            </p:cNvSpPr>
            <p:nvPr/>
          </p:nvSpPr>
          <p:spPr bwMode="auto">
            <a:xfrm>
              <a:off x="2097403" y="6826567"/>
              <a:ext cx="361949" cy="361949"/>
            </a:xfrm>
            <a:custGeom>
              <a:avLst/>
              <a:gdLst>
                <a:gd name="T0" fmla="*/ 3999 w 4051"/>
                <a:gd name="T1" fmla="*/ 2099 h 4050"/>
                <a:gd name="T2" fmla="*/ 3542 w 4051"/>
                <a:gd name="T3" fmla="*/ 1662 h 4050"/>
                <a:gd name="T4" fmla="*/ 3679 w 4051"/>
                <a:gd name="T5" fmla="*/ 1238 h 4050"/>
                <a:gd name="T6" fmla="*/ 3468 w 4051"/>
                <a:gd name="T7" fmla="*/ 728 h 4050"/>
                <a:gd name="T8" fmla="*/ 2509 w 4051"/>
                <a:gd name="T9" fmla="*/ 674 h 4050"/>
                <a:gd name="T10" fmla="*/ 1861 w 4051"/>
                <a:gd name="T11" fmla="*/ 61 h 4050"/>
                <a:gd name="T12" fmla="*/ 1629 w 4051"/>
                <a:gd name="T13" fmla="*/ 65 h 4050"/>
                <a:gd name="T14" fmla="*/ 65 w 4051"/>
                <a:gd name="T15" fmla="*/ 1628 h 4050"/>
                <a:gd name="T16" fmla="*/ 62 w 4051"/>
                <a:gd name="T17" fmla="*/ 1861 h 4050"/>
                <a:gd name="T18" fmla="*/ 885 w 4051"/>
                <a:gd name="T19" fmla="*/ 2728 h 4050"/>
                <a:gd name="T20" fmla="*/ 367 w 4051"/>
                <a:gd name="T21" fmla="*/ 2764 h 4050"/>
                <a:gd name="T22" fmla="*/ 211 w 4051"/>
                <a:gd name="T23" fmla="*/ 2926 h 4050"/>
                <a:gd name="T24" fmla="*/ 203 w 4051"/>
                <a:gd name="T25" fmla="*/ 3328 h 4050"/>
                <a:gd name="T26" fmla="*/ 337 w 4051"/>
                <a:gd name="T27" fmla="*/ 3495 h 4050"/>
                <a:gd name="T28" fmla="*/ 1915 w 4051"/>
                <a:gd name="T29" fmla="*/ 3806 h 4050"/>
                <a:gd name="T30" fmla="*/ 2099 w 4051"/>
                <a:gd name="T31" fmla="*/ 3999 h 4050"/>
                <a:gd name="T32" fmla="*/ 2218 w 4051"/>
                <a:gd name="T33" fmla="*/ 4050 h 4050"/>
                <a:gd name="T34" fmla="*/ 2219 w 4051"/>
                <a:gd name="T35" fmla="*/ 4050 h 4050"/>
                <a:gd name="T36" fmla="*/ 2337 w 4051"/>
                <a:gd name="T37" fmla="*/ 4001 h 4050"/>
                <a:gd name="T38" fmla="*/ 4001 w 4051"/>
                <a:gd name="T39" fmla="*/ 2337 h 4050"/>
                <a:gd name="T40" fmla="*/ 4050 w 4051"/>
                <a:gd name="T41" fmla="*/ 2217 h 4050"/>
                <a:gd name="T42" fmla="*/ 3999 w 4051"/>
                <a:gd name="T43" fmla="*/ 2099 h 4050"/>
                <a:gd name="T44" fmla="*/ 3233 w 4051"/>
                <a:gd name="T45" fmla="*/ 964 h 4050"/>
                <a:gd name="T46" fmla="*/ 3346 w 4051"/>
                <a:gd name="T47" fmla="*/ 1238 h 4050"/>
                <a:gd name="T48" fmla="*/ 3297 w 4051"/>
                <a:gd name="T49" fmla="*/ 1428 h 4050"/>
                <a:gd name="T50" fmla="*/ 2754 w 4051"/>
                <a:gd name="T51" fmla="*/ 909 h 4050"/>
                <a:gd name="T52" fmla="*/ 3233 w 4051"/>
                <a:gd name="T53" fmla="*/ 964 h 4050"/>
                <a:gd name="T54" fmla="*/ 1750 w 4051"/>
                <a:gd name="T55" fmla="*/ 415 h 4050"/>
                <a:gd name="T56" fmla="*/ 1990 w 4051"/>
                <a:gd name="T57" fmla="*/ 642 h 4050"/>
                <a:gd name="T58" fmla="*/ 642 w 4051"/>
                <a:gd name="T59" fmla="*/ 1990 h 4050"/>
                <a:gd name="T60" fmla="*/ 415 w 4051"/>
                <a:gd name="T61" fmla="*/ 1750 h 4050"/>
                <a:gd name="T62" fmla="*/ 1750 w 4051"/>
                <a:gd name="T63" fmla="*/ 415 h 4050"/>
                <a:gd name="T64" fmla="*/ 539 w 4051"/>
                <a:gd name="T65" fmla="*/ 3195 h 4050"/>
                <a:gd name="T66" fmla="*/ 541 w 4051"/>
                <a:gd name="T67" fmla="*/ 3086 h 4050"/>
                <a:gd name="T68" fmla="*/ 1185 w 4051"/>
                <a:gd name="T69" fmla="*/ 3042 h 4050"/>
                <a:gd name="T70" fmla="*/ 1515 w 4051"/>
                <a:gd name="T71" fmla="*/ 3387 h 4050"/>
                <a:gd name="T72" fmla="*/ 539 w 4051"/>
                <a:gd name="T73" fmla="*/ 3195 h 4050"/>
                <a:gd name="T74" fmla="*/ 2222 w 4051"/>
                <a:gd name="T75" fmla="*/ 3645 h 4050"/>
                <a:gd name="T76" fmla="*/ 871 w 4051"/>
                <a:gd name="T77" fmla="*/ 2232 h 4050"/>
                <a:gd name="T78" fmla="*/ 2232 w 4051"/>
                <a:gd name="T79" fmla="*/ 871 h 4050"/>
                <a:gd name="T80" fmla="*/ 3645 w 4051"/>
                <a:gd name="T81" fmla="*/ 2222 h 4050"/>
                <a:gd name="T82" fmla="*/ 2222 w 4051"/>
                <a:gd name="T83" fmla="*/ 3645 h 4050"/>
                <a:gd name="T84" fmla="*/ 2222 w 4051"/>
                <a:gd name="T85" fmla="*/ 3645 h 4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051" h="4050" extrusionOk="0">
                  <a:moveTo>
                    <a:pt x="3999" y="2099"/>
                  </a:moveTo>
                  <a:lnTo>
                    <a:pt x="3542" y="1662"/>
                  </a:lnTo>
                  <a:cubicBezTo>
                    <a:pt x="3631" y="1540"/>
                    <a:pt x="3679" y="1393"/>
                    <a:pt x="3679" y="1238"/>
                  </a:cubicBezTo>
                  <a:cubicBezTo>
                    <a:pt x="3679" y="1046"/>
                    <a:pt x="3604" y="864"/>
                    <a:pt x="3468" y="728"/>
                  </a:cubicBezTo>
                  <a:cubicBezTo>
                    <a:pt x="3206" y="466"/>
                    <a:pt x="2792" y="448"/>
                    <a:pt x="2509" y="674"/>
                  </a:cubicBezTo>
                  <a:lnTo>
                    <a:pt x="1861" y="61"/>
                  </a:lnTo>
                  <a:cubicBezTo>
                    <a:pt x="1795" y="0"/>
                    <a:pt x="1692" y="1"/>
                    <a:pt x="1629" y="65"/>
                  </a:cubicBezTo>
                  <a:lnTo>
                    <a:pt x="65" y="1628"/>
                  </a:lnTo>
                  <a:cubicBezTo>
                    <a:pt x="1" y="1692"/>
                    <a:pt x="0" y="1795"/>
                    <a:pt x="62" y="1861"/>
                  </a:cubicBezTo>
                  <a:lnTo>
                    <a:pt x="885" y="2728"/>
                  </a:lnTo>
                  <a:lnTo>
                    <a:pt x="367" y="2764"/>
                  </a:lnTo>
                  <a:cubicBezTo>
                    <a:pt x="281" y="2769"/>
                    <a:pt x="213" y="2840"/>
                    <a:pt x="211" y="2926"/>
                  </a:cubicBezTo>
                  <a:lnTo>
                    <a:pt x="203" y="3328"/>
                  </a:lnTo>
                  <a:cubicBezTo>
                    <a:pt x="201" y="3409"/>
                    <a:pt x="258" y="3480"/>
                    <a:pt x="337" y="3495"/>
                  </a:cubicBezTo>
                  <a:lnTo>
                    <a:pt x="1915" y="3806"/>
                  </a:lnTo>
                  <a:lnTo>
                    <a:pt x="2099" y="3999"/>
                  </a:lnTo>
                  <a:cubicBezTo>
                    <a:pt x="2130" y="4031"/>
                    <a:pt x="2173" y="4050"/>
                    <a:pt x="2218" y="4050"/>
                  </a:cubicBezTo>
                  <a:lnTo>
                    <a:pt x="2219" y="4050"/>
                  </a:lnTo>
                  <a:cubicBezTo>
                    <a:pt x="2264" y="4050"/>
                    <a:pt x="2306" y="4033"/>
                    <a:pt x="2337" y="4001"/>
                  </a:cubicBezTo>
                  <a:lnTo>
                    <a:pt x="4001" y="2337"/>
                  </a:lnTo>
                  <a:cubicBezTo>
                    <a:pt x="4033" y="2305"/>
                    <a:pt x="4051" y="2262"/>
                    <a:pt x="4050" y="2217"/>
                  </a:cubicBezTo>
                  <a:cubicBezTo>
                    <a:pt x="4050" y="2173"/>
                    <a:pt x="4031" y="2130"/>
                    <a:pt x="3999" y="2099"/>
                  </a:cubicBezTo>
                  <a:close/>
                  <a:moveTo>
                    <a:pt x="3233" y="964"/>
                  </a:moveTo>
                  <a:cubicBezTo>
                    <a:pt x="3306" y="1037"/>
                    <a:pt x="3346" y="1135"/>
                    <a:pt x="3346" y="1238"/>
                  </a:cubicBezTo>
                  <a:cubicBezTo>
                    <a:pt x="3346" y="1306"/>
                    <a:pt x="3329" y="1371"/>
                    <a:pt x="3297" y="1428"/>
                  </a:cubicBezTo>
                  <a:lnTo>
                    <a:pt x="2754" y="909"/>
                  </a:lnTo>
                  <a:cubicBezTo>
                    <a:pt x="2903" y="816"/>
                    <a:pt x="3103" y="834"/>
                    <a:pt x="3233" y="964"/>
                  </a:cubicBezTo>
                  <a:close/>
                  <a:moveTo>
                    <a:pt x="1750" y="415"/>
                  </a:moveTo>
                  <a:lnTo>
                    <a:pt x="1990" y="642"/>
                  </a:lnTo>
                  <a:lnTo>
                    <a:pt x="642" y="1990"/>
                  </a:lnTo>
                  <a:lnTo>
                    <a:pt x="415" y="1750"/>
                  </a:lnTo>
                  <a:lnTo>
                    <a:pt x="1750" y="415"/>
                  </a:lnTo>
                  <a:close/>
                  <a:moveTo>
                    <a:pt x="539" y="3195"/>
                  </a:moveTo>
                  <a:lnTo>
                    <a:pt x="541" y="3086"/>
                  </a:lnTo>
                  <a:lnTo>
                    <a:pt x="1185" y="3042"/>
                  </a:lnTo>
                  <a:lnTo>
                    <a:pt x="1515" y="3387"/>
                  </a:lnTo>
                  <a:lnTo>
                    <a:pt x="539" y="3195"/>
                  </a:lnTo>
                  <a:close/>
                  <a:moveTo>
                    <a:pt x="2222" y="3645"/>
                  </a:moveTo>
                  <a:lnTo>
                    <a:pt x="871" y="2232"/>
                  </a:lnTo>
                  <a:lnTo>
                    <a:pt x="2232" y="871"/>
                  </a:lnTo>
                  <a:lnTo>
                    <a:pt x="3645" y="2222"/>
                  </a:lnTo>
                  <a:lnTo>
                    <a:pt x="2222" y="3645"/>
                  </a:lnTo>
                  <a:close/>
                  <a:moveTo>
                    <a:pt x="2222" y="3645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4DBB50"/>
                </a:solidFill>
              </a:endParaRPr>
            </a:p>
          </p:txBody>
        </p:sp>
        <p:sp>
          <p:nvSpPr>
            <p:cNvPr id="1553706801" name="Freeform 57"/>
            <p:cNvSpPr>
              <a:spLocks noEditPoints="1"/>
            </p:cNvSpPr>
            <p:nvPr/>
          </p:nvSpPr>
          <p:spPr bwMode="auto">
            <a:xfrm>
              <a:off x="1832292" y="7502842"/>
              <a:ext cx="30161" cy="28575"/>
            </a:xfrm>
            <a:custGeom>
              <a:avLst/>
              <a:gdLst>
                <a:gd name="T0" fmla="*/ 166 w 333"/>
                <a:gd name="T1" fmla="*/ 334 h 334"/>
                <a:gd name="T2" fmla="*/ 134 w 333"/>
                <a:gd name="T3" fmla="*/ 331 h 334"/>
                <a:gd name="T4" fmla="*/ 102 w 333"/>
                <a:gd name="T5" fmla="*/ 322 h 334"/>
                <a:gd name="T6" fmla="*/ 74 w 333"/>
                <a:gd name="T7" fmla="*/ 306 h 334"/>
                <a:gd name="T8" fmla="*/ 49 w 333"/>
                <a:gd name="T9" fmla="*/ 286 h 334"/>
                <a:gd name="T10" fmla="*/ 28 w 333"/>
                <a:gd name="T11" fmla="*/ 260 h 334"/>
                <a:gd name="T12" fmla="*/ 12 w 333"/>
                <a:gd name="T13" fmla="*/ 232 h 334"/>
                <a:gd name="T14" fmla="*/ 3 w 333"/>
                <a:gd name="T15" fmla="*/ 200 h 334"/>
                <a:gd name="T16" fmla="*/ 0 w 333"/>
                <a:gd name="T17" fmla="*/ 168 h 334"/>
                <a:gd name="T18" fmla="*/ 3 w 333"/>
                <a:gd name="T19" fmla="*/ 135 h 334"/>
                <a:gd name="T20" fmla="*/ 12 w 333"/>
                <a:gd name="T21" fmla="*/ 104 h 334"/>
                <a:gd name="T22" fmla="*/ 28 w 333"/>
                <a:gd name="T23" fmla="*/ 75 h 334"/>
                <a:gd name="T24" fmla="*/ 49 w 333"/>
                <a:gd name="T25" fmla="*/ 50 h 334"/>
                <a:gd name="T26" fmla="*/ 74 w 333"/>
                <a:gd name="T27" fmla="*/ 29 h 334"/>
                <a:gd name="T28" fmla="*/ 102 w 333"/>
                <a:gd name="T29" fmla="*/ 14 h 334"/>
                <a:gd name="T30" fmla="*/ 134 w 333"/>
                <a:gd name="T31" fmla="*/ 4 h 334"/>
                <a:gd name="T32" fmla="*/ 199 w 333"/>
                <a:gd name="T33" fmla="*/ 4 h 334"/>
                <a:gd name="T34" fmla="*/ 230 w 333"/>
                <a:gd name="T35" fmla="*/ 14 h 334"/>
                <a:gd name="T36" fmla="*/ 259 w 333"/>
                <a:gd name="T37" fmla="*/ 29 h 334"/>
                <a:gd name="T38" fmla="*/ 284 w 333"/>
                <a:gd name="T39" fmla="*/ 50 h 334"/>
                <a:gd name="T40" fmla="*/ 305 w 333"/>
                <a:gd name="T41" fmla="*/ 75 h 334"/>
                <a:gd name="T42" fmla="*/ 320 w 333"/>
                <a:gd name="T43" fmla="*/ 104 h 334"/>
                <a:gd name="T44" fmla="*/ 330 w 333"/>
                <a:gd name="T45" fmla="*/ 135 h 334"/>
                <a:gd name="T46" fmla="*/ 333 w 333"/>
                <a:gd name="T47" fmla="*/ 168 h 334"/>
                <a:gd name="T48" fmla="*/ 330 w 333"/>
                <a:gd name="T49" fmla="*/ 200 h 334"/>
                <a:gd name="T50" fmla="*/ 320 w 333"/>
                <a:gd name="T51" fmla="*/ 232 h 334"/>
                <a:gd name="T52" fmla="*/ 305 w 333"/>
                <a:gd name="T53" fmla="*/ 260 h 334"/>
                <a:gd name="T54" fmla="*/ 284 w 333"/>
                <a:gd name="T55" fmla="*/ 286 h 334"/>
                <a:gd name="T56" fmla="*/ 259 w 333"/>
                <a:gd name="T57" fmla="*/ 306 h 334"/>
                <a:gd name="T58" fmla="*/ 230 w 333"/>
                <a:gd name="T59" fmla="*/ 322 h 334"/>
                <a:gd name="T60" fmla="*/ 199 w 333"/>
                <a:gd name="T61" fmla="*/ 331 h 334"/>
                <a:gd name="T62" fmla="*/ 166 w 333"/>
                <a:gd name="T63" fmla="*/ 334 h 334"/>
                <a:gd name="T64" fmla="*/ 166 w 333"/>
                <a:gd name="T65" fmla="*/ 3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33" h="334" extrusionOk="0">
                  <a:moveTo>
                    <a:pt x="166" y="334"/>
                  </a:moveTo>
                  <a:cubicBezTo>
                    <a:pt x="156" y="334"/>
                    <a:pt x="145" y="333"/>
                    <a:pt x="134" y="331"/>
                  </a:cubicBezTo>
                  <a:cubicBezTo>
                    <a:pt x="123" y="329"/>
                    <a:pt x="113" y="326"/>
                    <a:pt x="102" y="322"/>
                  </a:cubicBezTo>
                  <a:cubicBezTo>
                    <a:pt x="93" y="317"/>
                    <a:pt x="83" y="312"/>
                    <a:pt x="74" y="306"/>
                  </a:cubicBezTo>
                  <a:cubicBezTo>
                    <a:pt x="65" y="300"/>
                    <a:pt x="56" y="293"/>
                    <a:pt x="49" y="286"/>
                  </a:cubicBezTo>
                  <a:cubicBezTo>
                    <a:pt x="41" y="278"/>
                    <a:pt x="34" y="269"/>
                    <a:pt x="28" y="260"/>
                  </a:cubicBezTo>
                  <a:cubicBezTo>
                    <a:pt x="22" y="251"/>
                    <a:pt x="16" y="242"/>
                    <a:pt x="12" y="232"/>
                  </a:cubicBezTo>
                  <a:cubicBezTo>
                    <a:pt x="8" y="221"/>
                    <a:pt x="5" y="211"/>
                    <a:pt x="3" y="200"/>
                  </a:cubicBezTo>
                  <a:cubicBezTo>
                    <a:pt x="1" y="190"/>
                    <a:pt x="0" y="179"/>
                    <a:pt x="0" y="168"/>
                  </a:cubicBezTo>
                  <a:cubicBezTo>
                    <a:pt x="0" y="157"/>
                    <a:pt x="1" y="146"/>
                    <a:pt x="3" y="135"/>
                  </a:cubicBezTo>
                  <a:cubicBezTo>
                    <a:pt x="5" y="125"/>
                    <a:pt x="8" y="114"/>
                    <a:pt x="12" y="104"/>
                  </a:cubicBezTo>
                  <a:cubicBezTo>
                    <a:pt x="16" y="94"/>
                    <a:pt x="22" y="84"/>
                    <a:pt x="28" y="75"/>
                  </a:cubicBezTo>
                  <a:cubicBezTo>
                    <a:pt x="34" y="66"/>
                    <a:pt x="41" y="58"/>
                    <a:pt x="49" y="50"/>
                  </a:cubicBezTo>
                  <a:cubicBezTo>
                    <a:pt x="56" y="42"/>
                    <a:pt x="65" y="35"/>
                    <a:pt x="74" y="29"/>
                  </a:cubicBezTo>
                  <a:cubicBezTo>
                    <a:pt x="83" y="23"/>
                    <a:pt x="93" y="18"/>
                    <a:pt x="102" y="14"/>
                  </a:cubicBezTo>
                  <a:cubicBezTo>
                    <a:pt x="113" y="10"/>
                    <a:pt x="123" y="7"/>
                    <a:pt x="134" y="4"/>
                  </a:cubicBezTo>
                  <a:cubicBezTo>
                    <a:pt x="155" y="0"/>
                    <a:pt x="177" y="0"/>
                    <a:pt x="199" y="4"/>
                  </a:cubicBezTo>
                  <a:cubicBezTo>
                    <a:pt x="210" y="7"/>
                    <a:pt x="220" y="10"/>
                    <a:pt x="230" y="14"/>
                  </a:cubicBezTo>
                  <a:cubicBezTo>
                    <a:pt x="240" y="18"/>
                    <a:pt x="250" y="23"/>
                    <a:pt x="259" y="29"/>
                  </a:cubicBezTo>
                  <a:cubicBezTo>
                    <a:pt x="268" y="35"/>
                    <a:pt x="276" y="42"/>
                    <a:pt x="284" y="50"/>
                  </a:cubicBezTo>
                  <a:cubicBezTo>
                    <a:pt x="292" y="58"/>
                    <a:pt x="299" y="66"/>
                    <a:pt x="305" y="75"/>
                  </a:cubicBezTo>
                  <a:cubicBezTo>
                    <a:pt x="311" y="84"/>
                    <a:pt x="316" y="94"/>
                    <a:pt x="320" y="104"/>
                  </a:cubicBezTo>
                  <a:cubicBezTo>
                    <a:pt x="324" y="114"/>
                    <a:pt x="327" y="125"/>
                    <a:pt x="330" y="135"/>
                  </a:cubicBezTo>
                  <a:cubicBezTo>
                    <a:pt x="332" y="146"/>
                    <a:pt x="333" y="157"/>
                    <a:pt x="333" y="168"/>
                  </a:cubicBezTo>
                  <a:cubicBezTo>
                    <a:pt x="333" y="179"/>
                    <a:pt x="332" y="190"/>
                    <a:pt x="330" y="200"/>
                  </a:cubicBezTo>
                  <a:cubicBezTo>
                    <a:pt x="327" y="211"/>
                    <a:pt x="324" y="221"/>
                    <a:pt x="320" y="232"/>
                  </a:cubicBezTo>
                  <a:cubicBezTo>
                    <a:pt x="316" y="242"/>
                    <a:pt x="311" y="251"/>
                    <a:pt x="305" y="260"/>
                  </a:cubicBezTo>
                  <a:cubicBezTo>
                    <a:pt x="299" y="269"/>
                    <a:pt x="292" y="278"/>
                    <a:pt x="284" y="286"/>
                  </a:cubicBezTo>
                  <a:cubicBezTo>
                    <a:pt x="276" y="293"/>
                    <a:pt x="268" y="300"/>
                    <a:pt x="259" y="306"/>
                  </a:cubicBezTo>
                  <a:cubicBezTo>
                    <a:pt x="250" y="312"/>
                    <a:pt x="240" y="317"/>
                    <a:pt x="230" y="322"/>
                  </a:cubicBezTo>
                  <a:cubicBezTo>
                    <a:pt x="220" y="326"/>
                    <a:pt x="210" y="329"/>
                    <a:pt x="199" y="331"/>
                  </a:cubicBezTo>
                  <a:cubicBezTo>
                    <a:pt x="188" y="333"/>
                    <a:pt x="177" y="334"/>
                    <a:pt x="166" y="334"/>
                  </a:cubicBezTo>
                  <a:close/>
                  <a:moveTo>
                    <a:pt x="166" y="334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4DBB50"/>
                </a:solidFill>
              </a:endParaRPr>
            </a:p>
          </p:txBody>
        </p:sp>
        <p:sp>
          <p:nvSpPr>
            <p:cNvPr id="977306201" name="Freeform 58"/>
            <p:cNvSpPr>
              <a:spLocks noEditPoints="1"/>
            </p:cNvSpPr>
            <p:nvPr/>
          </p:nvSpPr>
          <p:spPr bwMode="auto">
            <a:xfrm>
              <a:off x="1713228" y="7264716"/>
              <a:ext cx="763587" cy="327024"/>
            </a:xfrm>
            <a:custGeom>
              <a:avLst/>
              <a:gdLst>
                <a:gd name="T0" fmla="*/ 7589 w 8533"/>
                <a:gd name="T1" fmla="*/ 1603 h 3644"/>
                <a:gd name="T2" fmla="*/ 6463 w 8533"/>
                <a:gd name="T3" fmla="*/ 261 h 3644"/>
                <a:gd name="T4" fmla="*/ 5345 w 8533"/>
                <a:gd name="T5" fmla="*/ 328 h 3644"/>
                <a:gd name="T6" fmla="*/ 5226 w 8533"/>
                <a:gd name="T7" fmla="*/ 328 h 3644"/>
                <a:gd name="T8" fmla="*/ 4108 w 8533"/>
                <a:gd name="T9" fmla="*/ 261 h 3644"/>
                <a:gd name="T10" fmla="*/ 3324 w 8533"/>
                <a:gd name="T11" fmla="*/ 1145 h 3644"/>
                <a:gd name="T12" fmla="*/ 3304 w 8533"/>
                <a:gd name="T13" fmla="*/ 134 h 3644"/>
                <a:gd name="T14" fmla="*/ 2254 w 8533"/>
                <a:gd name="T15" fmla="*/ 396 h 3644"/>
                <a:gd name="T16" fmla="*/ 1204 w 8533"/>
                <a:gd name="T17" fmla="*/ 134 h 3644"/>
                <a:gd name="T18" fmla="*/ 1184 w 8533"/>
                <a:gd name="T19" fmla="*/ 1145 h 3644"/>
                <a:gd name="T20" fmla="*/ 0 w 8533"/>
                <a:gd name="T21" fmla="*/ 1312 h 3644"/>
                <a:gd name="T22" fmla="*/ 167 w 8533"/>
                <a:gd name="T23" fmla="*/ 3644 h 3644"/>
                <a:gd name="T24" fmla="*/ 8533 w 8533"/>
                <a:gd name="T25" fmla="*/ 3477 h 3644"/>
                <a:gd name="T26" fmla="*/ 5580 w 8533"/>
                <a:gd name="T27" fmla="*/ 564 h 3644"/>
                <a:gd name="T28" fmla="*/ 6033 w 8533"/>
                <a:gd name="T29" fmla="*/ 1017 h 3644"/>
                <a:gd name="T30" fmla="*/ 5571 w 8533"/>
                <a:gd name="T31" fmla="*/ 1145 h 3644"/>
                <a:gd name="T32" fmla="*/ 5453 w 8533"/>
                <a:gd name="T33" fmla="*/ 1035 h 3644"/>
                <a:gd name="T34" fmla="*/ 5580 w 8533"/>
                <a:gd name="T35" fmla="*/ 564 h 3644"/>
                <a:gd name="T36" fmla="*/ 4991 w 8533"/>
                <a:gd name="T37" fmla="*/ 564 h 3644"/>
                <a:gd name="T38" fmla="*/ 5118 w 8533"/>
                <a:gd name="T39" fmla="*/ 1041 h 3644"/>
                <a:gd name="T40" fmla="*/ 4538 w 8533"/>
                <a:gd name="T41" fmla="*/ 1017 h 3644"/>
                <a:gd name="T42" fmla="*/ 2549 w 8533"/>
                <a:gd name="T43" fmla="*/ 564 h 3644"/>
                <a:gd name="T44" fmla="*/ 3002 w 8533"/>
                <a:gd name="T45" fmla="*/ 1017 h 3644"/>
                <a:gd name="T46" fmla="*/ 2540 w 8533"/>
                <a:gd name="T47" fmla="*/ 1145 h 3644"/>
                <a:gd name="T48" fmla="*/ 2421 w 8533"/>
                <a:gd name="T49" fmla="*/ 1035 h 3644"/>
                <a:gd name="T50" fmla="*/ 2549 w 8533"/>
                <a:gd name="T51" fmla="*/ 564 h 3644"/>
                <a:gd name="T52" fmla="*/ 1959 w 8533"/>
                <a:gd name="T53" fmla="*/ 564 h 3644"/>
                <a:gd name="T54" fmla="*/ 2087 w 8533"/>
                <a:gd name="T55" fmla="*/ 1041 h 3644"/>
                <a:gd name="T56" fmla="*/ 1506 w 8533"/>
                <a:gd name="T57" fmla="*/ 1017 h 3644"/>
                <a:gd name="T58" fmla="*/ 333 w 8533"/>
                <a:gd name="T59" fmla="*/ 3311 h 3644"/>
                <a:gd name="T60" fmla="*/ 6201 w 8533"/>
                <a:gd name="T61" fmla="*/ 1478 h 3644"/>
                <a:gd name="T62" fmla="*/ 6356 w 8533"/>
                <a:gd name="T63" fmla="*/ 2649 h 3644"/>
                <a:gd name="T64" fmla="*/ 6336 w 8533"/>
                <a:gd name="T65" fmla="*/ 1638 h 3644"/>
                <a:gd name="T66" fmla="*/ 5285 w 8533"/>
                <a:gd name="T67" fmla="*/ 1900 h 3644"/>
                <a:gd name="T68" fmla="*/ 4235 w 8533"/>
                <a:gd name="T69" fmla="*/ 1638 h 3644"/>
                <a:gd name="T70" fmla="*/ 4215 w 8533"/>
                <a:gd name="T71" fmla="*/ 2649 h 3644"/>
                <a:gd name="T72" fmla="*/ 1982 w 8533"/>
                <a:gd name="T73" fmla="*/ 2816 h 3644"/>
                <a:gd name="T74" fmla="*/ 8138 w 8533"/>
                <a:gd name="T75" fmla="*/ 2982 h 3644"/>
                <a:gd name="T76" fmla="*/ 333 w 8533"/>
                <a:gd name="T77" fmla="*/ 3311 h 3644"/>
                <a:gd name="T78" fmla="*/ 5459 w 8533"/>
                <a:gd name="T79" fmla="*/ 2642 h 3644"/>
                <a:gd name="T80" fmla="*/ 5453 w 8533"/>
                <a:gd name="T81" fmla="*/ 2460 h 3644"/>
                <a:gd name="T82" fmla="*/ 6154 w 8533"/>
                <a:gd name="T83" fmla="*/ 1947 h 3644"/>
                <a:gd name="T84" fmla="*/ 5633 w 8533"/>
                <a:gd name="T85" fmla="*/ 2649 h 3644"/>
                <a:gd name="T86" fmla="*/ 5118 w 8533"/>
                <a:gd name="T87" fmla="*/ 2545 h 3644"/>
                <a:gd name="T88" fmla="*/ 4538 w 8533"/>
                <a:gd name="T89" fmla="*/ 2521 h 3644"/>
                <a:gd name="T90" fmla="*/ 4991 w 8533"/>
                <a:gd name="T91" fmla="*/ 2068 h 3644"/>
                <a:gd name="T92" fmla="*/ 5118 w 8533"/>
                <a:gd name="T93" fmla="*/ 2545 h 3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533" h="3644" extrusionOk="0">
                  <a:moveTo>
                    <a:pt x="8423" y="2765"/>
                  </a:moveTo>
                  <a:cubicBezTo>
                    <a:pt x="8273" y="2298"/>
                    <a:pt x="7985" y="1896"/>
                    <a:pt x="7589" y="1603"/>
                  </a:cubicBezTo>
                  <a:cubicBezTo>
                    <a:pt x="7226" y="1333"/>
                    <a:pt x="6801" y="1178"/>
                    <a:pt x="6353" y="1150"/>
                  </a:cubicBezTo>
                  <a:cubicBezTo>
                    <a:pt x="6574" y="814"/>
                    <a:pt x="6476" y="322"/>
                    <a:pt x="6463" y="261"/>
                  </a:cubicBezTo>
                  <a:cubicBezTo>
                    <a:pt x="6449" y="197"/>
                    <a:pt x="6400" y="148"/>
                    <a:pt x="6336" y="134"/>
                  </a:cubicBezTo>
                  <a:cubicBezTo>
                    <a:pt x="6269" y="119"/>
                    <a:pt x="5672" y="0"/>
                    <a:pt x="5345" y="328"/>
                  </a:cubicBezTo>
                  <a:cubicBezTo>
                    <a:pt x="5323" y="350"/>
                    <a:pt x="5303" y="372"/>
                    <a:pt x="5285" y="396"/>
                  </a:cubicBezTo>
                  <a:cubicBezTo>
                    <a:pt x="5268" y="372"/>
                    <a:pt x="5248" y="350"/>
                    <a:pt x="5226" y="328"/>
                  </a:cubicBezTo>
                  <a:cubicBezTo>
                    <a:pt x="4899" y="0"/>
                    <a:pt x="4302" y="119"/>
                    <a:pt x="4235" y="134"/>
                  </a:cubicBezTo>
                  <a:cubicBezTo>
                    <a:pt x="4171" y="148"/>
                    <a:pt x="4122" y="197"/>
                    <a:pt x="4108" y="261"/>
                  </a:cubicBezTo>
                  <a:cubicBezTo>
                    <a:pt x="4095" y="321"/>
                    <a:pt x="3997" y="809"/>
                    <a:pt x="4215" y="1145"/>
                  </a:cubicBezTo>
                  <a:lnTo>
                    <a:pt x="3324" y="1145"/>
                  </a:lnTo>
                  <a:cubicBezTo>
                    <a:pt x="3542" y="809"/>
                    <a:pt x="3445" y="321"/>
                    <a:pt x="3432" y="261"/>
                  </a:cubicBezTo>
                  <a:cubicBezTo>
                    <a:pt x="3418" y="197"/>
                    <a:pt x="3368" y="148"/>
                    <a:pt x="3304" y="134"/>
                  </a:cubicBezTo>
                  <a:cubicBezTo>
                    <a:pt x="3238" y="119"/>
                    <a:pt x="2641" y="0"/>
                    <a:pt x="2313" y="328"/>
                  </a:cubicBezTo>
                  <a:cubicBezTo>
                    <a:pt x="2292" y="350"/>
                    <a:pt x="2272" y="372"/>
                    <a:pt x="2254" y="396"/>
                  </a:cubicBezTo>
                  <a:cubicBezTo>
                    <a:pt x="2236" y="372"/>
                    <a:pt x="2216" y="350"/>
                    <a:pt x="2195" y="328"/>
                  </a:cubicBezTo>
                  <a:cubicBezTo>
                    <a:pt x="1867" y="0"/>
                    <a:pt x="1271" y="119"/>
                    <a:pt x="1204" y="134"/>
                  </a:cubicBezTo>
                  <a:cubicBezTo>
                    <a:pt x="1140" y="148"/>
                    <a:pt x="1090" y="197"/>
                    <a:pt x="1076" y="261"/>
                  </a:cubicBezTo>
                  <a:cubicBezTo>
                    <a:pt x="1063" y="321"/>
                    <a:pt x="966" y="809"/>
                    <a:pt x="1184" y="1145"/>
                  </a:cubicBezTo>
                  <a:lnTo>
                    <a:pt x="167" y="1145"/>
                  </a:lnTo>
                  <a:cubicBezTo>
                    <a:pt x="75" y="1145"/>
                    <a:pt x="0" y="1219"/>
                    <a:pt x="0" y="1312"/>
                  </a:cubicBezTo>
                  <a:lnTo>
                    <a:pt x="0" y="3477"/>
                  </a:lnTo>
                  <a:cubicBezTo>
                    <a:pt x="0" y="3569"/>
                    <a:pt x="75" y="3644"/>
                    <a:pt x="167" y="3644"/>
                  </a:cubicBezTo>
                  <a:lnTo>
                    <a:pt x="8367" y="3644"/>
                  </a:lnTo>
                  <a:cubicBezTo>
                    <a:pt x="8459" y="3644"/>
                    <a:pt x="8533" y="3569"/>
                    <a:pt x="8533" y="3477"/>
                  </a:cubicBezTo>
                  <a:cubicBezTo>
                    <a:pt x="8533" y="3234"/>
                    <a:pt x="8496" y="2995"/>
                    <a:pt x="8423" y="2765"/>
                  </a:cubicBezTo>
                  <a:close/>
                  <a:moveTo>
                    <a:pt x="5580" y="564"/>
                  </a:moveTo>
                  <a:cubicBezTo>
                    <a:pt x="5715" y="429"/>
                    <a:pt x="5983" y="425"/>
                    <a:pt x="6154" y="443"/>
                  </a:cubicBezTo>
                  <a:cubicBezTo>
                    <a:pt x="6171" y="612"/>
                    <a:pt x="6167" y="883"/>
                    <a:pt x="6033" y="1017"/>
                  </a:cubicBezTo>
                  <a:cubicBezTo>
                    <a:pt x="5939" y="1111"/>
                    <a:pt x="5779" y="1141"/>
                    <a:pt x="5633" y="1145"/>
                  </a:cubicBezTo>
                  <a:lnTo>
                    <a:pt x="5571" y="1145"/>
                  </a:lnTo>
                  <a:cubicBezTo>
                    <a:pt x="5531" y="1144"/>
                    <a:pt x="5494" y="1141"/>
                    <a:pt x="5459" y="1138"/>
                  </a:cubicBezTo>
                  <a:cubicBezTo>
                    <a:pt x="5456" y="1106"/>
                    <a:pt x="5454" y="1071"/>
                    <a:pt x="5453" y="1035"/>
                  </a:cubicBezTo>
                  <a:cubicBezTo>
                    <a:pt x="5453" y="1009"/>
                    <a:pt x="5454" y="983"/>
                    <a:pt x="5453" y="956"/>
                  </a:cubicBezTo>
                  <a:cubicBezTo>
                    <a:pt x="5458" y="812"/>
                    <a:pt x="5488" y="656"/>
                    <a:pt x="5580" y="564"/>
                  </a:cubicBezTo>
                  <a:close/>
                  <a:moveTo>
                    <a:pt x="4417" y="443"/>
                  </a:moveTo>
                  <a:cubicBezTo>
                    <a:pt x="4586" y="425"/>
                    <a:pt x="4857" y="430"/>
                    <a:pt x="4991" y="564"/>
                  </a:cubicBezTo>
                  <a:cubicBezTo>
                    <a:pt x="5081" y="654"/>
                    <a:pt x="5113" y="806"/>
                    <a:pt x="5118" y="947"/>
                  </a:cubicBezTo>
                  <a:cubicBezTo>
                    <a:pt x="5117" y="980"/>
                    <a:pt x="5117" y="1011"/>
                    <a:pt x="5118" y="1041"/>
                  </a:cubicBezTo>
                  <a:cubicBezTo>
                    <a:pt x="5117" y="1075"/>
                    <a:pt x="5115" y="1108"/>
                    <a:pt x="5112" y="1137"/>
                  </a:cubicBezTo>
                  <a:cubicBezTo>
                    <a:pt x="4942" y="1155"/>
                    <a:pt x="4671" y="1150"/>
                    <a:pt x="4538" y="1017"/>
                  </a:cubicBezTo>
                  <a:cubicBezTo>
                    <a:pt x="4403" y="882"/>
                    <a:pt x="4399" y="614"/>
                    <a:pt x="4417" y="443"/>
                  </a:cubicBezTo>
                  <a:close/>
                  <a:moveTo>
                    <a:pt x="2549" y="564"/>
                  </a:moveTo>
                  <a:cubicBezTo>
                    <a:pt x="2683" y="429"/>
                    <a:pt x="2951" y="425"/>
                    <a:pt x="3123" y="443"/>
                  </a:cubicBezTo>
                  <a:cubicBezTo>
                    <a:pt x="3140" y="612"/>
                    <a:pt x="3136" y="883"/>
                    <a:pt x="3002" y="1017"/>
                  </a:cubicBezTo>
                  <a:cubicBezTo>
                    <a:pt x="2908" y="1111"/>
                    <a:pt x="2748" y="1141"/>
                    <a:pt x="2601" y="1145"/>
                  </a:cubicBezTo>
                  <a:lnTo>
                    <a:pt x="2540" y="1145"/>
                  </a:lnTo>
                  <a:cubicBezTo>
                    <a:pt x="2500" y="1144"/>
                    <a:pt x="2462" y="1141"/>
                    <a:pt x="2428" y="1138"/>
                  </a:cubicBezTo>
                  <a:cubicBezTo>
                    <a:pt x="2425" y="1106"/>
                    <a:pt x="2422" y="1071"/>
                    <a:pt x="2421" y="1035"/>
                  </a:cubicBezTo>
                  <a:cubicBezTo>
                    <a:pt x="2422" y="1009"/>
                    <a:pt x="2422" y="983"/>
                    <a:pt x="2421" y="956"/>
                  </a:cubicBezTo>
                  <a:cubicBezTo>
                    <a:pt x="2426" y="812"/>
                    <a:pt x="2457" y="656"/>
                    <a:pt x="2549" y="564"/>
                  </a:cubicBezTo>
                  <a:close/>
                  <a:moveTo>
                    <a:pt x="1385" y="443"/>
                  </a:moveTo>
                  <a:cubicBezTo>
                    <a:pt x="1555" y="425"/>
                    <a:pt x="1825" y="430"/>
                    <a:pt x="1959" y="564"/>
                  </a:cubicBezTo>
                  <a:cubicBezTo>
                    <a:pt x="2050" y="654"/>
                    <a:pt x="2081" y="806"/>
                    <a:pt x="2087" y="947"/>
                  </a:cubicBezTo>
                  <a:cubicBezTo>
                    <a:pt x="2086" y="980"/>
                    <a:pt x="2086" y="1011"/>
                    <a:pt x="2087" y="1041"/>
                  </a:cubicBezTo>
                  <a:cubicBezTo>
                    <a:pt x="2086" y="1075"/>
                    <a:pt x="2083" y="1108"/>
                    <a:pt x="2080" y="1137"/>
                  </a:cubicBezTo>
                  <a:cubicBezTo>
                    <a:pt x="1911" y="1155"/>
                    <a:pt x="1640" y="1150"/>
                    <a:pt x="1506" y="1017"/>
                  </a:cubicBezTo>
                  <a:cubicBezTo>
                    <a:pt x="1372" y="882"/>
                    <a:pt x="1367" y="614"/>
                    <a:pt x="1385" y="443"/>
                  </a:cubicBezTo>
                  <a:close/>
                  <a:moveTo>
                    <a:pt x="333" y="3311"/>
                  </a:moveTo>
                  <a:lnTo>
                    <a:pt x="333" y="1478"/>
                  </a:lnTo>
                  <a:lnTo>
                    <a:pt x="6201" y="1478"/>
                  </a:lnTo>
                  <a:cubicBezTo>
                    <a:pt x="6995" y="1478"/>
                    <a:pt x="7700" y="1940"/>
                    <a:pt x="8021" y="2649"/>
                  </a:cubicBezTo>
                  <a:lnTo>
                    <a:pt x="6356" y="2649"/>
                  </a:lnTo>
                  <a:cubicBezTo>
                    <a:pt x="6573" y="2313"/>
                    <a:pt x="6476" y="1826"/>
                    <a:pt x="6463" y="1765"/>
                  </a:cubicBezTo>
                  <a:cubicBezTo>
                    <a:pt x="6449" y="1702"/>
                    <a:pt x="6400" y="1652"/>
                    <a:pt x="6336" y="1638"/>
                  </a:cubicBezTo>
                  <a:cubicBezTo>
                    <a:pt x="6269" y="1623"/>
                    <a:pt x="5672" y="1505"/>
                    <a:pt x="5345" y="1832"/>
                  </a:cubicBezTo>
                  <a:cubicBezTo>
                    <a:pt x="5323" y="1854"/>
                    <a:pt x="5303" y="1877"/>
                    <a:pt x="5285" y="1900"/>
                  </a:cubicBezTo>
                  <a:cubicBezTo>
                    <a:pt x="5268" y="1877"/>
                    <a:pt x="5248" y="1854"/>
                    <a:pt x="5226" y="1832"/>
                  </a:cubicBezTo>
                  <a:cubicBezTo>
                    <a:pt x="4899" y="1505"/>
                    <a:pt x="4302" y="1623"/>
                    <a:pt x="4235" y="1638"/>
                  </a:cubicBezTo>
                  <a:cubicBezTo>
                    <a:pt x="4171" y="1652"/>
                    <a:pt x="4122" y="1702"/>
                    <a:pt x="4108" y="1765"/>
                  </a:cubicBezTo>
                  <a:cubicBezTo>
                    <a:pt x="4095" y="1826"/>
                    <a:pt x="3998" y="2313"/>
                    <a:pt x="4215" y="2649"/>
                  </a:cubicBezTo>
                  <a:lnTo>
                    <a:pt x="2149" y="2649"/>
                  </a:lnTo>
                  <a:cubicBezTo>
                    <a:pt x="2057" y="2649"/>
                    <a:pt x="1982" y="2724"/>
                    <a:pt x="1982" y="2816"/>
                  </a:cubicBezTo>
                  <a:cubicBezTo>
                    <a:pt x="1982" y="2908"/>
                    <a:pt x="2057" y="2982"/>
                    <a:pt x="2149" y="2982"/>
                  </a:cubicBezTo>
                  <a:lnTo>
                    <a:pt x="8138" y="2982"/>
                  </a:lnTo>
                  <a:cubicBezTo>
                    <a:pt x="8166" y="3090"/>
                    <a:pt x="8184" y="3200"/>
                    <a:pt x="8193" y="3311"/>
                  </a:cubicBezTo>
                  <a:lnTo>
                    <a:pt x="333" y="3311"/>
                  </a:lnTo>
                  <a:close/>
                  <a:moveTo>
                    <a:pt x="5571" y="2649"/>
                  </a:moveTo>
                  <a:cubicBezTo>
                    <a:pt x="5531" y="2648"/>
                    <a:pt x="5493" y="2646"/>
                    <a:pt x="5459" y="2642"/>
                  </a:cubicBezTo>
                  <a:cubicBezTo>
                    <a:pt x="5456" y="2611"/>
                    <a:pt x="5454" y="2576"/>
                    <a:pt x="5453" y="2539"/>
                  </a:cubicBezTo>
                  <a:cubicBezTo>
                    <a:pt x="5453" y="2514"/>
                    <a:pt x="5454" y="2487"/>
                    <a:pt x="5453" y="2460"/>
                  </a:cubicBezTo>
                  <a:cubicBezTo>
                    <a:pt x="5458" y="2316"/>
                    <a:pt x="5488" y="2160"/>
                    <a:pt x="5580" y="2068"/>
                  </a:cubicBezTo>
                  <a:cubicBezTo>
                    <a:pt x="5715" y="1934"/>
                    <a:pt x="5983" y="1929"/>
                    <a:pt x="6154" y="1947"/>
                  </a:cubicBezTo>
                  <a:cubicBezTo>
                    <a:pt x="6171" y="2116"/>
                    <a:pt x="6167" y="2387"/>
                    <a:pt x="6033" y="2521"/>
                  </a:cubicBezTo>
                  <a:cubicBezTo>
                    <a:pt x="5939" y="2615"/>
                    <a:pt x="5780" y="2645"/>
                    <a:pt x="5633" y="2649"/>
                  </a:cubicBezTo>
                  <a:lnTo>
                    <a:pt x="5571" y="2649"/>
                  </a:lnTo>
                  <a:close/>
                  <a:moveTo>
                    <a:pt x="5118" y="2545"/>
                  </a:moveTo>
                  <a:cubicBezTo>
                    <a:pt x="5117" y="2580"/>
                    <a:pt x="5115" y="2612"/>
                    <a:pt x="5112" y="2642"/>
                  </a:cubicBezTo>
                  <a:cubicBezTo>
                    <a:pt x="4942" y="2659"/>
                    <a:pt x="4671" y="2655"/>
                    <a:pt x="4538" y="2521"/>
                  </a:cubicBezTo>
                  <a:cubicBezTo>
                    <a:pt x="4403" y="2387"/>
                    <a:pt x="4399" y="2119"/>
                    <a:pt x="4417" y="1947"/>
                  </a:cubicBezTo>
                  <a:cubicBezTo>
                    <a:pt x="4586" y="1930"/>
                    <a:pt x="4857" y="1934"/>
                    <a:pt x="4991" y="2068"/>
                  </a:cubicBezTo>
                  <a:cubicBezTo>
                    <a:pt x="5081" y="2159"/>
                    <a:pt x="5113" y="2310"/>
                    <a:pt x="5118" y="2452"/>
                  </a:cubicBezTo>
                  <a:cubicBezTo>
                    <a:pt x="5117" y="2484"/>
                    <a:pt x="5117" y="2515"/>
                    <a:pt x="5118" y="2545"/>
                  </a:cubicBezTo>
                  <a:close/>
                  <a:moveTo>
                    <a:pt x="5118" y="2545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4DBB50"/>
                </a:solidFill>
              </a:endParaRPr>
            </a:p>
          </p:txBody>
        </p:sp>
        <p:sp>
          <p:nvSpPr>
            <p:cNvPr id="738571372" name="Freeform 59"/>
            <p:cNvSpPr>
              <a:spLocks noEditPoints="1"/>
            </p:cNvSpPr>
            <p:nvPr/>
          </p:nvSpPr>
          <p:spPr bwMode="auto">
            <a:xfrm>
              <a:off x="2040253" y="7137717"/>
              <a:ext cx="100012" cy="120649"/>
            </a:xfrm>
            <a:custGeom>
              <a:avLst/>
              <a:gdLst>
                <a:gd name="T0" fmla="*/ 560 w 1120"/>
                <a:gd name="T1" fmla="*/ 1350 h 1350"/>
                <a:gd name="T2" fmla="*/ 0 w 1120"/>
                <a:gd name="T3" fmla="*/ 790 h 1350"/>
                <a:gd name="T4" fmla="*/ 441 w 1120"/>
                <a:gd name="T5" fmla="*/ 50 h 1350"/>
                <a:gd name="T6" fmla="*/ 560 w 1120"/>
                <a:gd name="T7" fmla="*/ 0 h 1350"/>
                <a:gd name="T8" fmla="*/ 680 w 1120"/>
                <a:gd name="T9" fmla="*/ 50 h 1350"/>
                <a:gd name="T10" fmla="*/ 1120 w 1120"/>
                <a:gd name="T11" fmla="*/ 790 h 1350"/>
                <a:gd name="T12" fmla="*/ 560 w 1120"/>
                <a:gd name="T13" fmla="*/ 1350 h 1350"/>
                <a:gd name="T14" fmla="*/ 560 w 1120"/>
                <a:gd name="T15" fmla="*/ 417 h 1350"/>
                <a:gd name="T16" fmla="*/ 333 w 1120"/>
                <a:gd name="T17" fmla="*/ 790 h 1350"/>
                <a:gd name="T18" fmla="*/ 560 w 1120"/>
                <a:gd name="T19" fmla="*/ 1017 h 1350"/>
                <a:gd name="T20" fmla="*/ 787 w 1120"/>
                <a:gd name="T21" fmla="*/ 790 h 1350"/>
                <a:gd name="T22" fmla="*/ 560 w 1120"/>
                <a:gd name="T23" fmla="*/ 417 h 1350"/>
                <a:gd name="T24" fmla="*/ 560 w 1120"/>
                <a:gd name="T25" fmla="*/ 417 h 1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20" h="1350" extrusionOk="0">
                  <a:moveTo>
                    <a:pt x="560" y="1350"/>
                  </a:moveTo>
                  <a:cubicBezTo>
                    <a:pt x="251" y="1350"/>
                    <a:pt x="0" y="1099"/>
                    <a:pt x="0" y="790"/>
                  </a:cubicBezTo>
                  <a:cubicBezTo>
                    <a:pt x="0" y="526"/>
                    <a:pt x="337" y="157"/>
                    <a:pt x="441" y="50"/>
                  </a:cubicBezTo>
                  <a:cubicBezTo>
                    <a:pt x="472" y="18"/>
                    <a:pt x="515" y="0"/>
                    <a:pt x="560" y="0"/>
                  </a:cubicBezTo>
                  <a:cubicBezTo>
                    <a:pt x="605" y="0"/>
                    <a:pt x="649" y="18"/>
                    <a:pt x="680" y="50"/>
                  </a:cubicBezTo>
                  <a:cubicBezTo>
                    <a:pt x="783" y="157"/>
                    <a:pt x="1120" y="526"/>
                    <a:pt x="1120" y="790"/>
                  </a:cubicBezTo>
                  <a:cubicBezTo>
                    <a:pt x="1120" y="1099"/>
                    <a:pt x="869" y="1350"/>
                    <a:pt x="560" y="1350"/>
                  </a:cubicBezTo>
                  <a:close/>
                  <a:moveTo>
                    <a:pt x="560" y="417"/>
                  </a:moveTo>
                  <a:cubicBezTo>
                    <a:pt x="432" y="572"/>
                    <a:pt x="333" y="730"/>
                    <a:pt x="333" y="790"/>
                  </a:cubicBezTo>
                  <a:cubicBezTo>
                    <a:pt x="333" y="915"/>
                    <a:pt x="435" y="1017"/>
                    <a:pt x="560" y="1017"/>
                  </a:cubicBezTo>
                  <a:cubicBezTo>
                    <a:pt x="685" y="1017"/>
                    <a:pt x="787" y="915"/>
                    <a:pt x="787" y="790"/>
                  </a:cubicBezTo>
                  <a:cubicBezTo>
                    <a:pt x="787" y="725"/>
                    <a:pt x="682" y="564"/>
                    <a:pt x="560" y="417"/>
                  </a:cubicBezTo>
                  <a:close/>
                  <a:moveTo>
                    <a:pt x="560" y="417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4DBB50"/>
                </a:solidFill>
              </a:endParaRPr>
            </a:p>
          </p:txBody>
        </p:sp>
      </p:grpSp>
      <p:pic>
        <p:nvPicPr>
          <p:cNvPr id="902841908" name="Рисунок 1"/>
          <p:cNvPicPr>
            <a:picLocks noChangeAspect="1"/>
          </p:cNvPicPr>
          <p:nvPr/>
        </p:nvPicPr>
        <p:blipFill>
          <a:blip r:embed="rId10"/>
          <a:srcRect r="337" b="780"/>
          <a:stretch/>
        </p:blipFill>
        <p:spPr bwMode="auto">
          <a:xfrm flipH="1">
            <a:off x="9454635" y="3203748"/>
            <a:ext cx="430560" cy="376983"/>
          </a:xfrm>
          <a:prstGeom prst="rect">
            <a:avLst/>
          </a:prstGeom>
        </p:spPr>
      </p:pic>
      <p:pic>
        <p:nvPicPr>
          <p:cNvPr id="98342508" name="Рисунок 4"/>
          <p:cNvPicPr>
            <a:picLocks noChangeAspect="1"/>
          </p:cNvPicPr>
          <p:nvPr/>
        </p:nvPicPr>
        <p:blipFill>
          <a:blip r:embed="rId11">
            <a:biLevel thresh="75000"/>
          </a:blip>
          <a:stretch/>
        </p:blipFill>
        <p:spPr bwMode="auto">
          <a:xfrm>
            <a:off x="9447453" y="1743712"/>
            <a:ext cx="444925" cy="444925"/>
          </a:xfrm>
          <a:prstGeom prst="rect">
            <a:avLst/>
          </a:prstGeom>
        </p:spPr>
      </p:pic>
      <p:pic>
        <p:nvPicPr>
          <p:cNvPr id="6360547" name="Picture 2" descr="https://cdn3.iconfinder.com/data/icons/organic-farming/256/organic-food-fruit-plant-004-1024.png"/>
          <p:cNvPicPr>
            <a:picLocks noChangeAspect="1" noChangeArrowheads="1"/>
          </p:cNvPicPr>
          <p:nvPr/>
        </p:nvPicPr>
        <p:blipFill>
          <a:blip r:embed="rId1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820072" y="4319713"/>
            <a:ext cx="450896" cy="450896"/>
          </a:xfrm>
          <a:prstGeom prst="rect">
            <a:avLst/>
          </a:prstGeom>
          <a:noFill/>
        </p:spPr>
      </p:pic>
      <p:graphicFrame>
        <p:nvGraphicFramePr>
          <p:cNvPr id="891245518" name="Таблица 127"/>
          <p:cNvGraphicFramePr>
            <a:graphicFrameLocks/>
          </p:cNvGraphicFramePr>
          <p:nvPr/>
        </p:nvGraphicFramePr>
        <p:xfrm>
          <a:off x="3676036" y="4476422"/>
          <a:ext cx="2485545" cy="117409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18724"/>
                <a:gridCol w="1966821"/>
              </a:tblGrid>
              <a:tr h="670167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ru-RU" sz="1100" b="0" i="0" u="none" strike="noStrike">
                        <a:solidFill>
                          <a:srgbClr val="088054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100" b="0" u="none" strike="noStrike">
                          <a:solidFill>
                            <a:schemeClr val="accent1"/>
                          </a:solidFill>
                          <a:latin typeface="Proxima Nova Rg"/>
                        </a:rPr>
                        <a:t>Зоотехния</a:t>
                      </a:r>
                      <a:endParaRPr/>
                    </a:p>
                    <a:p>
                      <a:pPr marL="0" marR="0" lvl="0" indent="0" algn="l" defTabSz="91455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ru-RU" sz="1100" b="0" u="none" strike="noStrike">
                        <a:solidFill>
                          <a:schemeClr val="accent1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</a:tr>
              <a:tr h="503927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ru-RU" sz="1100" b="0" i="0" u="none" strike="noStrike">
                        <a:solidFill>
                          <a:srgbClr val="088054"/>
                        </a:solidFill>
                        <a:latin typeface="Proxima Nova Rg"/>
                      </a:endParaRP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100" b="0" i="0" u="none" strike="noStrike">
                          <a:solidFill>
                            <a:schemeClr val="accent1"/>
                          </a:solidFill>
                          <a:latin typeface="Proxima Nova Rg"/>
                        </a:rPr>
                        <a:t>Производство продукции для ресторанного бизнеса</a:t>
                      </a:r>
                    </a:p>
                  </a:txBody>
                  <a:tcPr marL="5724" marR="5724" marT="5724" marB="0" anchor="ctr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1535944708" name="Рисунок 8"/>
          <p:cNvPicPr>
            <a:picLocks noChangeAspect="1"/>
          </p:cNvPicPr>
          <p:nvPr/>
        </p:nvPicPr>
        <p:blipFill>
          <a:blip r:embed="rId1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3466573" y="4471845"/>
            <a:ext cx="494524" cy="501511"/>
          </a:xfrm>
          <a:prstGeom prst="rect">
            <a:avLst/>
          </a:prstGeom>
        </p:spPr>
      </p:pic>
      <p:pic>
        <p:nvPicPr>
          <p:cNvPr id="1005917337" name="Рисунок 9"/>
          <p:cNvPicPr>
            <a:picLocks noChangeAspect="1"/>
          </p:cNvPicPr>
          <p:nvPr/>
        </p:nvPicPr>
        <p:blipFill>
          <a:blip r:embed="rId1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3522955" y="5159575"/>
            <a:ext cx="490941" cy="490941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DAA9B757-E82C-4C61-B4AC-FDC45BBF87A6}" type="slidenum">
              <a:rPr lang="ru-RU"/>
              <a:t>7</a:t>
            </a:fld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 bwMode="auto"/>
        <p:txBody>
          <a:bodyPr>
            <a:normAutofit/>
          </a:bodyPr>
          <a:lstStyle/>
          <a:p>
            <a:pPr>
              <a:defRPr/>
            </a:pPr>
            <a:r>
              <a:rPr lang="ru-RU" sz="2800"/>
              <a:t>ДОРОЖНАЯ КАРТА ДЛЯ УЧАСТНИКОВ 10-ОЙ ВОЛНЫ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334963" y="698269"/>
          <a:ext cx="11302855" cy="6026727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9019817"/>
                <a:gridCol w="2283038"/>
              </a:tblGrid>
              <a:tr h="352843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200">
                          <a:latin typeface="Arial"/>
                          <a:cs typeface="Arial"/>
                        </a:rPr>
                        <a:t>НАИМЕНОВАНИЕ МЕРОПРИЯТИЙ</a:t>
                      </a:r>
                    </a:p>
                  </a:txBody>
                  <a:tcPr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solidFill>
                      <a:srgbClr val="2B603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00">
                          <a:latin typeface="Arial"/>
                          <a:cs typeface="Arial"/>
                        </a:rPr>
                        <a:t>СРОК</a:t>
                      </a:r>
                    </a:p>
                  </a:txBody>
                  <a:tcPr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solidFill>
                      <a:srgbClr val="2B6030"/>
                    </a:solidFill>
                  </a:tcPr>
                </a:tc>
              </a:tr>
              <a:tr h="280974">
                <a:tc gridSpan="2">
                  <a:txBody>
                    <a:bodyPr/>
                    <a:lstStyle/>
                    <a:p>
                      <a:pPr marL="0" marR="0" indent="0" algn="l" defTabSz="91437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defRPr/>
                      </a:pPr>
                      <a:r>
                        <a:rPr lang="ru-RU" sz="1200" b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10 волна «Школы фермера»</a:t>
                      </a:r>
                      <a:endParaRPr/>
                    </a:p>
                  </a:txBody>
                  <a:tcPr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solidFill>
                      <a:srgbClr val="A6CE3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</a:tr>
              <a:tr h="468289">
                <a:tc>
                  <a:txBody>
                    <a:bodyPr/>
                    <a:lstStyle/>
                    <a:p>
                      <a:pPr marL="0" marR="0" lvl="0" indent="0" algn="l" defTabSz="91437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defRPr/>
                      </a:pPr>
                      <a:r>
                        <a:rPr lang="ru-RU" sz="1200" b="1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1. Направление ходатайства в ГО о готовности принять участие в проекте в 2024 году в соответствии со стандартами организации процесса обучения- направлено</a:t>
                      </a:r>
                      <a:endParaRPr sz="1200" b="1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90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1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14.0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rPr>
                        <a:t>3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rPr>
                        <a:t>.202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rPr>
                        <a:t>4</a:t>
                      </a:r>
                      <a:endParaRPr b="1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</a:tr>
              <a:tr h="439068">
                <a:tc>
                  <a:txBody>
                    <a:bodyPr/>
                    <a:lstStyle/>
                    <a:p>
                      <a:pPr marL="0" marR="0" lvl="0" indent="0" algn="l" defTabSz="91437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defRPr/>
                      </a:pPr>
                      <a:r>
                        <a:rPr lang="ru-RU" sz="1200" b="1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2. Формирование перечня регионов для участия в 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rPr>
                        <a:t>10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rPr>
                        <a:t>-ой волне «Школы фермера»- Астраханская область</a:t>
                      </a:r>
                      <a:endParaRPr b="1">
                        <a:solidFill>
                          <a:schemeClr val="tx1"/>
                        </a:solidFill>
                      </a:endParaRPr>
                    </a:p>
                  </a:txBody>
                  <a:tcPr marL="90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1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14.0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rPr>
                        <a:t>3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rPr>
                        <a:t>.202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rPr>
                        <a:t>4</a:t>
                      </a:r>
                      <a:endParaRPr b="1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</a:tr>
              <a:tr h="439068">
                <a:tc>
                  <a:txBody>
                    <a:bodyPr/>
                    <a:lstStyle/>
                    <a:p>
                      <a:pPr marL="0" marR="0" lvl="0" indent="0" algn="l" defTabSz="91437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defRPr/>
                      </a:pPr>
                      <a:r>
                        <a:rPr lang="ru-RU" sz="1200" b="1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3. Определение перечня учебных заведений, на базе которых будет проводиться обучение - ВолГАУ</a:t>
                      </a:r>
                      <a:endParaRPr sz="1200" b="1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90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1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14.03.202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rPr>
                        <a:t>4</a:t>
                      </a:r>
                      <a:endParaRPr b="1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</a:tr>
              <a:tr h="439068">
                <a:tc>
                  <a:txBody>
                    <a:bodyPr/>
                    <a:lstStyle/>
                    <a:p>
                      <a:pPr marL="0" marR="0" lvl="0" indent="0" algn="l" defTabSz="91437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defRPr/>
                      </a:pPr>
                      <a:r>
                        <a:rPr lang="ru-RU" sz="1200" b="1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4. Определение специализаций каждым регионом- Овощеводство( картофелеводство) Животноводство ( КРС)</a:t>
                      </a:r>
                      <a:endParaRPr b="1">
                        <a:solidFill>
                          <a:schemeClr val="tx1"/>
                        </a:solidFill>
                      </a:endParaRPr>
                    </a:p>
                  </a:txBody>
                  <a:tcPr marL="90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1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21.03.2024</a:t>
                      </a:r>
                      <a:endParaRPr b="1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</a:tr>
              <a:tr h="468289">
                <a:tc>
                  <a:txBody>
                    <a:bodyPr/>
                    <a:lstStyle/>
                    <a:p>
                      <a:pPr marL="0" marR="0" lvl="0" indent="0" algn="l" defTabSz="91437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defRPr/>
                      </a:pP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5. Разработка учебно-тематического плана совместно с учебным заведением и региональным МСХ </a:t>
                      </a:r>
                      <a:b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</a:br>
                      <a:r>
                        <a:rPr lang="ru-RU" sz="1200" b="0" i="1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(необходимо согласование с ГО)-план формирует ВолГАУ</a:t>
                      </a:r>
                      <a:endParaRPr>
                        <a:solidFill>
                          <a:schemeClr val="tx1"/>
                        </a:solidFill>
                      </a:endParaRPr>
                    </a:p>
                  </a:txBody>
                  <a:tcPr marL="90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31.07.2024</a:t>
                      </a:r>
                      <a:endParaRPr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</a:tr>
              <a:tr h="468289">
                <a:tc>
                  <a:txBody>
                    <a:bodyPr/>
                    <a:lstStyle/>
                    <a:p>
                      <a:pPr marL="0" marR="0" indent="0" algn="l" defTabSz="91437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defRPr/>
                      </a:pP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6. Формирование Положения о проведении конкурсного отбора </a:t>
                      </a:r>
                      <a:b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</a:br>
                      <a:r>
                        <a:rPr lang="ru-RU" sz="1200" b="0" i="1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(необходимо согласование с ГО) – формирует куратор проекта</a:t>
                      </a:r>
                      <a:endParaRPr>
                        <a:solidFill>
                          <a:schemeClr val="tx1"/>
                        </a:solidFill>
                      </a:endParaRPr>
                    </a:p>
                  </a:txBody>
                  <a:tcPr marL="90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31.05.2024</a:t>
                      </a:r>
                      <a:endParaRPr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</a:tr>
              <a:tr h="468289">
                <a:tc>
                  <a:txBody>
                    <a:bodyPr/>
                    <a:lstStyle/>
                    <a:p>
                      <a:pPr marL="0" marR="0" lvl="0" indent="0" algn="l" defTabSz="107305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7. Проведение конкурса по отбору слушателей, формирование групп слушателей- 25-30 слушателей ( Юр лиц), 2 группы по 10-15 человек. – осуществляет Министерство сельского хозяйства и рыбной промышленности Астраханской области</a:t>
                      </a:r>
                      <a:endParaRPr sz="1200" b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90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01.06.2024 – 19.07.2024</a:t>
                      </a:r>
                      <a:endParaRPr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</a:tr>
              <a:tr h="740248">
                <a:tc>
                  <a:txBody>
                    <a:bodyPr/>
                    <a:lstStyle/>
                    <a:p>
                      <a:pPr marL="0" marR="0" lvl="0" indent="0" algn="l" defTabSz="91437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defRPr/>
                      </a:pP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8. Определение списка </a:t>
                      </a: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крупных компаний для участия в проекте (проведения практических занятий) - 2 компании на каждую специализацию- определяет</a:t>
                      </a:r>
                      <a:r>
                        <a:rPr lang="ru-RU" sz="1200" b="0" i="0" u="none" strike="noStrike" cap="none" spc="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rPr>
                        <a:t> Министерство сельского хозяйства и рыбной промышленности Астраханской области</a:t>
                      </a:r>
                      <a:endParaRPr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437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defRPr/>
                      </a:pPr>
                      <a:endParaRPr sz="1400" b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90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До 17.06.2024</a:t>
                      </a:r>
                      <a:endParaRPr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</a:tr>
              <a:tr h="341746">
                <a:tc>
                  <a:txBody>
                    <a:bodyPr/>
                    <a:lstStyle/>
                    <a:p>
                      <a:pPr marL="0" indent="0">
                        <a:buNone/>
                        <a:defRPr/>
                      </a:pP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9. Создание личного кабинета слушателя на Свое.Фермерство – оформляет сам слушатель</a:t>
                      </a:r>
                      <a:endParaRPr>
                        <a:solidFill>
                          <a:schemeClr val="tx1"/>
                        </a:solidFill>
                      </a:endParaRPr>
                    </a:p>
                  </a:txBody>
                  <a:tcPr marL="90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22.07-01.08.2024</a:t>
                      </a:r>
                      <a:endParaRPr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</a:tr>
              <a:tr h="346827">
                <a:tc>
                  <a:txBody>
                    <a:bodyPr/>
                    <a:lstStyle/>
                    <a:p>
                      <a:pPr marL="0" indent="0">
                        <a:buNone/>
                        <a:defRPr/>
                      </a:pP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10. Интеграция с ВУЗом в части создания личного кабинета слушателя,  доступ к материалам и пр.- оформляет ВолГАУ</a:t>
                      </a:r>
                      <a:endParaRPr>
                        <a:solidFill>
                          <a:schemeClr val="tx1"/>
                        </a:solidFill>
                      </a:endParaRPr>
                    </a:p>
                  </a:txBody>
                  <a:tcPr marL="90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01.08-30.08.2024</a:t>
                      </a:r>
                      <a:endParaRPr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</a:tr>
              <a:tr h="773729">
                <a:tc>
                  <a:txBody>
                    <a:bodyPr/>
                    <a:lstStyle/>
                    <a:p>
                      <a:pPr marL="0" marR="0" lvl="0" indent="0" algn="l" defTabSz="91437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defRPr/>
                      </a:pP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11. Запуск 10 волны обучения «Школы фермера»- торжественно, с приглашением прессы</a:t>
                      </a:r>
                      <a:endParaRPr sz="1200" b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37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defRPr/>
                      </a:pPr>
                      <a:endParaRPr sz="1200" b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90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 Сентябрь 2024 </a:t>
                      </a:r>
                      <a:endParaRPr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theme/theme1.xml><?xml version="1.0" encoding="utf-8"?>
<a:theme xmlns:a="http://schemas.openxmlformats.org/drawingml/2006/main" name="Специальное оформление">
  <a:themeElements>
    <a:clrScheme name="Другая 2">
      <a:dk1>
        <a:srgbClr val="333333"/>
      </a:dk1>
      <a:lt1>
        <a:srgbClr val="FFFFFF"/>
      </a:lt1>
      <a:dk2>
        <a:srgbClr val="333333"/>
      </a:dk2>
      <a:lt2>
        <a:srgbClr val="FFFFFF"/>
      </a:lt2>
      <a:accent1>
        <a:srgbClr val="2B6030"/>
      </a:accent1>
      <a:accent2>
        <a:srgbClr val="6AA744"/>
      </a:accent2>
      <a:accent3>
        <a:srgbClr val="FFCB05"/>
      </a:accent3>
      <a:accent4>
        <a:srgbClr val="A17711"/>
      </a:accent4>
      <a:accent5>
        <a:srgbClr val="A6CE39"/>
      </a:accent5>
      <a:accent6>
        <a:srgbClr val="65CCFF"/>
      </a:accent6>
      <a:hlink>
        <a:srgbClr val="00AAFF"/>
      </a:hlink>
      <a:folHlink>
        <a:srgbClr val="99DDFF"/>
      </a:folHlink>
    </a:clrScheme>
    <a:fontScheme name="Стандартная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Стандартная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</TotalTime>
  <Words>446</Words>
  <Application>Microsoft Office PowerPoint</Application>
  <DocSecurity>0</DocSecurity>
  <PresentationFormat>Произвольный</PresentationFormat>
  <Paragraphs>96</Paragraphs>
  <Slides>7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9" baseType="lpstr">
      <vt:lpstr>Специальное оформление</vt:lpstr>
      <vt:lpstr>oleObj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ДОРОЖНАЯ КАРТА ДЛЯ УЧАСТНИКОВ 10-ОЙ ВОЛНЫ</vt:lpstr>
    </vt:vector>
  </TitlesOfParts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Чисторосов Николай Дмитриевич</dc:creator>
  <cp:lastModifiedBy>Стоцкая Татьяна Анатольевна</cp:lastModifiedBy>
  <cp:revision>989</cp:revision>
  <dcterms:created xsi:type="dcterms:W3CDTF">2020-10-21T06:35:27Z</dcterms:created>
  <dcterms:modified xsi:type="dcterms:W3CDTF">2024-05-28T07:17:19Z</dcterms:modified>
  <dc:identifier/>
  <dc:language/>
  <cp:version/>
</cp:coreProperties>
</file>